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7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8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9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05" r:id="rId2"/>
    <p:sldMasterId id="2147483827" r:id="rId3"/>
    <p:sldMasterId id="2147483858" r:id="rId4"/>
    <p:sldMasterId id="2147483889" r:id="rId5"/>
    <p:sldMasterId id="2147483924" r:id="rId6"/>
    <p:sldMasterId id="2147483955" r:id="rId7"/>
    <p:sldMasterId id="2147483986" r:id="rId8"/>
    <p:sldMasterId id="2147484017" r:id="rId9"/>
  </p:sldMasterIdLst>
  <p:notesMasterIdLst>
    <p:notesMasterId r:id="rId11"/>
  </p:notesMasterIdLst>
  <p:handoutMasterIdLst>
    <p:handoutMasterId r:id="rId12"/>
  </p:handoutMasterIdLst>
  <p:sldIdLst>
    <p:sldId id="369" r:id="rId10"/>
  </p:sldIdLst>
  <p:sldSz cx="12192000" cy="6858000"/>
  <p:notesSz cx="7010400" cy="9296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unn, Felicity (RTHQ)" initials="DF(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E4B48"/>
    <a:srgbClr val="B9CDE5"/>
    <a:srgbClr val="BCBEC0"/>
    <a:srgbClr val="8783A4"/>
    <a:srgbClr val="C00000"/>
    <a:srgbClr val="007DA3"/>
    <a:srgbClr val="6FA488"/>
    <a:srgbClr val="FFA101"/>
    <a:srgbClr val="E70D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216" autoAdjust="0"/>
    <p:restoredTop sz="96781" autoAdjust="0"/>
  </p:normalViewPr>
  <p:slideViewPr>
    <p:cSldViewPr snapToGrid="0" showGuides="1">
      <p:cViewPr varScale="1">
        <p:scale>
          <a:sx n="117" d="100"/>
          <a:sy n="117" d="100"/>
        </p:scale>
        <p:origin x="-20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5" d="100"/>
          <a:sy n="95" d="100"/>
        </p:scale>
        <p:origin x="272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37840" cy="466435"/>
          </a:xfrm>
          <a:prstGeom prst="rect">
            <a:avLst/>
          </a:prstGeom>
        </p:spPr>
        <p:txBody>
          <a:bodyPr vert="horz" lIns="93109" tIns="46556" rIns="93109" bIns="46556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0" y="3"/>
            <a:ext cx="3037840" cy="466435"/>
          </a:xfrm>
          <a:prstGeom prst="rect">
            <a:avLst/>
          </a:prstGeom>
        </p:spPr>
        <p:txBody>
          <a:bodyPr vert="horz" lIns="93109" tIns="46556" rIns="93109" bIns="46556" rtlCol="0"/>
          <a:lstStyle>
            <a:lvl1pPr algn="r">
              <a:defRPr sz="1300"/>
            </a:lvl1pPr>
          </a:lstStyle>
          <a:p>
            <a:fld id="{9EC5F4FF-E331-453A-B518-984AF18B927A}" type="datetimeFigureOut">
              <a:rPr lang="en-GB" smtClean="0"/>
              <a:t>18/06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966"/>
            <a:ext cx="3037840" cy="466434"/>
          </a:xfrm>
          <a:prstGeom prst="rect">
            <a:avLst/>
          </a:prstGeom>
        </p:spPr>
        <p:txBody>
          <a:bodyPr vert="horz" lIns="93109" tIns="46556" rIns="93109" bIns="46556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0" y="8829966"/>
            <a:ext cx="3037840" cy="466434"/>
          </a:xfrm>
          <a:prstGeom prst="rect">
            <a:avLst/>
          </a:prstGeom>
        </p:spPr>
        <p:txBody>
          <a:bodyPr vert="horz" lIns="93109" tIns="46556" rIns="93109" bIns="46556" rtlCol="0" anchor="b"/>
          <a:lstStyle>
            <a:lvl1pPr algn="r">
              <a:defRPr sz="1300"/>
            </a:lvl1pPr>
          </a:lstStyle>
          <a:p>
            <a:fld id="{9BEB55BE-2D77-4356-B008-1E486DBE53F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35253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37840" cy="466435"/>
          </a:xfrm>
          <a:prstGeom prst="rect">
            <a:avLst/>
          </a:prstGeom>
        </p:spPr>
        <p:txBody>
          <a:bodyPr vert="horz" lIns="93109" tIns="46556" rIns="93109" bIns="46556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3"/>
            <a:ext cx="3037840" cy="466435"/>
          </a:xfrm>
          <a:prstGeom prst="rect">
            <a:avLst/>
          </a:prstGeom>
        </p:spPr>
        <p:txBody>
          <a:bodyPr vert="horz" lIns="93109" tIns="46556" rIns="93109" bIns="46556" rtlCol="0"/>
          <a:lstStyle>
            <a:lvl1pPr algn="r">
              <a:defRPr sz="1300"/>
            </a:lvl1pPr>
          </a:lstStyle>
          <a:p>
            <a:fld id="{F05A5433-F670-45B7-9ED5-673F7131316D}" type="datetimeFigureOut">
              <a:rPr lang="en-GB" smtClean="0"/>
              <a:t>18/06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0463"/>
            <a:ext cx="5578475" cy="31384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09" tIns="46556" rIns="93109" bIns="4655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9"/>
          </a:xfrm>
          <a:prstGeom prst="rect">
            <a:avLst/>
          </a:prstGeom>
        </p:spPr>
        <p:txBody>
          <a:bodyPr vert="horz" lIns="93109" tIns="46556" rIns="93109" bIns="4655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6"/>
            <a:ext cx="3037840" cy="466434"/>
          </a:xfrm>
          <a:prstGeom prst="rect">
            <a:avLst/>
          </a:prstGeom>
        </p:spPr>
        <p:txBody>
          <a:bodyPr vert="horz" lIns="93109" tIns="46556" rIns="93109" bIns="46556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6"/>
            <a:ext cx="3037840" cy="466434"/>
          </a:xfrm>
          <a:prstGeom prst="rect">
            <a:avLst/>
          </a:prstGeom>
        </p:spPr>
        <p:txBody>
          <a:bodyPr vert="horz" lIns="93109" tIns="46556" rIns="93109" bIns="46556" rtlCol="0" anchor="b"/>
          <a:lstStyle>
            <a:lvl1pPr algn="r">
              <a:defRPr sz="1300"/>
            </a:lvl1pPr>
          </a:lstStyle>
          <a:p>
            <a:fld id="{51DB267B-297A-43F5-AD02-BABEEA252D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977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29" y="-297"/>
            <a:ext cx="12193057" cy="685859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34964" y="756745"/>
            <a:ext cx="5955770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15583" y="2940182"/>
            <a:ext cx="4986705" cy="461665"/>
          </a:xfr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smtClean="0"/>
              <a:t>Jean Sebastien Jacques – CEO visit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15583" y="1514747"/>
            <a:ext cx="567515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RTB - Borate Operation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8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45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57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50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32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61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62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11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76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4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25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19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49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691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57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38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64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10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59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5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35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42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26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10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52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4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930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279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938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155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49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292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22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5604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39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43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47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57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34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37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75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177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36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36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3978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95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3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260350"/>
            <a:ext cx="10562167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310218" y="1462088"/>
            <a:ext cx="10562167" cy="490061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297518" y="6532564"/>
            <a:ext cx="1890183" cy="249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z="800" smtClean="0">
                <a:solidFill>
                  <a:srgbClr val="665546"/>
                </a:solidFill>
                <a:latin typeface="Calibri" pitchFamily="34" charset="0"/>
              </a:rPr>
              <a:t>17 August 2012</a:t>
            </a:r>
            <a:endParaRPr lang="en-GB" sz="800" dirty="0">
              <a:solidFill>
                <a:srgbClr val="665546"/>
              </a:solidFill>
              <a:latin typeface="Calibri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49652" y="6538914"/>
            <a:ext cx="5962649" cy="249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sz="800" dirty="0">
              <a:solidFill>
                <a:srgbClr val="665546"/>
              </a:solidFill>
              <a:latin typeface="Calibri" pitchFamily="34" charset="0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46218" y="6529389"/>
            <a:ext cx="1890183" cy="249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E9CFE25-19BD-43CD-9911-DDFCD52C1D15}" type="slidenum">
              <a:rPr lang="en-GB" sz="800">
                <a:solidFill>
                  <a:srgbClr val="665546"/>
                </a:solidFill>
                <a:latin typeface="Calibri" pitchFamily="34" charset="0"/>
              </a:rPr>
              <a:pPr/>
              <a:t>‹#›</a:t>
            </a:fld>
            <a:endParaRPr lang="en-GB" sz="800" dirty="0">
              <a:solidFill>
                <a:srgbClr val="665546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1036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O B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45903" y="6686556"/>
            <a:ext cx="622300" cy="200026"/>
          </a:xfrm>
          <a:ln/>
        </p:spPr>
        <p:txBody>
          <a:bodyPr/>
          <a:lstStyle>
            <a:lvl1pPr>
              <a:defRPr sz="750"/>
            </a:lvl1pPr>
          </a:lstStyle>
          <a:p>
            <a:pPr>
              <a:defRPr/>
            </a:pPr>
            <a:fld id="{B3293BBE-B549-42D0-AE8B-C206FD65A116}" type="slidenum">
              <a:rPr lang="en-GB" smtClean="0">
                <a:solidFill>
                  <a:srgbClr val="665546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6655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561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7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9455" y="2142382"/>
            <a:ext cx="9314028" cy="399330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0A2A83-9FD4-489F-980C-73FDCA34DAC7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200152" y="1661619"/>
            <a:ext cx="10367433" cy="288925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180975" indent="0">
              <a:buNone/>
              <a:defRPr>
                <a:solidFill>
                  <a:schemeClr val="accent1"/>
                </a:solidFill>
              </a:defRPr>
            </a:lvl2pPr>
            <a:lvl3pPr marL="457200" indent="0">
              <a:buNone/>
              <a:defRPr>
                <a:solidFill>
                  <a:schemeClr val="accent1"/>
                </a:solidFill>
              </a:defRPr>
            </a:lvl3pPr>
            <a:lvl4pPr marL="719138" indent="0">
              <a:buNone/>
              <a:defRPr>
                <a:solidFill>
                  <a:schemeClr val="accent1"/>
                </a:solidFill>
              </a:defRPr>
            </a:lvl4pPr>
            <a:lvl5pPr marL="62865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Date Placeholder 6"/>
          <p:cNvSpPr>
            <a:spLocks noGrp="1"/>
          </p:cNvSpPr>
          <p:nvPr>
            <p:ph type="dt" sz="half" idx="2"/>
          </p:nvPr>
        </p:nvSpPr>
        <p:spPr>
          <a:xfrm>
            <a:off x="1199455" y="99330"/>
            <a:ext cx="1429444" cy="1825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646464"/>
                </a:solidFill>
              </a:rPr>
              <a:t>17 August 2012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877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21143" y="1328740"/>
            <a:ext cx="10363200" cy="1362075"/>
          </a:xfrm>
        </p:spPr>
        <p:txBody>
          <a:bodyPr anchor="t"/>
          <a:lstStyle>
            <a:lvl1pPr algn="l">
              <a:lnSpc>
                <a:spcPct val="90000"/>
              </a:lnSpc>
              <a:defRPr sz="4000" b="1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FE6F7E-8B46-44DF-85F1-4962DADC12BE}" type="slidenum">
              <a:rPr lang="en-GB" smtClean="0">
                <a:solidFill>
                  <a:srgbClr val="3F3F3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41363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57539" y="3513641"/>
            <a:ext cx="5267325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38159" y="5697078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38159" y="4271643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438159" y="6173810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539" y="3513641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43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3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67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03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16823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67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73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94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5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70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41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749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69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270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877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915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151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13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77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9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75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407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2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48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66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6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57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2375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56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41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7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5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58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1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2219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29" y="-297"/>
            <a:ext cx="12193057" cy="685859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34964" y="756745"/>
            <a:ext cx="5955770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15583" y="2940182"/>
            <a:ext cx="4986705" cy="461665"/>
          </a:xfr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smtClean="0"/>
              <a:t>Jean Sebastien Jacques – CEO visit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15583" y="1514747"/>
            <a:ext cx="567515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RTB - Borate Operation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99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05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79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67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37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2399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3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65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71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28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78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0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93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534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43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469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26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378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76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322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14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52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66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27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26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14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81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95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81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98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49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8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70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63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29" y="-297"/>
            <a:ext cx="12193057" cy="685859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34964" y="756745"/>
            <a:ext cx="5955770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15583" y="2940182"/>
            <a:ext cx="4986705" cy="461665"/>
          </a:xfr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smtClean="0"/>
              <a:t>Jean Sebastien Jacques – CEO visit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15583" y="1514747"/>
            <a:ext cx="567515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RTB - Borate Operation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03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49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24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3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295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47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78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05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1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9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99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40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65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143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773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468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04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598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318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3936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8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3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3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18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49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83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71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43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32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45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228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92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986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>
          <a:xfrm>
            <a:off x="1373515" y="99440"/>
            <a:ext cx="11074669" cy="763202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23646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09"/>
          <a:stretch/>
        </p:blipFill>
        <p:spPr>
          <a:xfrm rot="5400000">
            <a:off x="-40769" y="591815"/>
            <a:ext cx="821152" cy="2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7384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62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27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48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643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3120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6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99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816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281" y="171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81" y="171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201056" y="18643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smtClean="0">
                <a:solidFill>
                  <a:srgbClr val="000000"/>
                </a:solidFill>
                <a:latin typeface="Arial"/>
              </a:rPr>
              <a:t>WORKING DRAFT</a:t>
            </a:r>
            <a:endParaRPr lang="en-GB" sz="9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201175" y="345170"/>
            <a:ext cx="28341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Last Modified 6/17/2013 10:59 PM GMT Standard Time</a:t>
            </a:r>
            <a:endParaRPr lang="en-GB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201176" y="505512"/>
            <a:ext cx="25263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Printed 6/7/2013 8:58 AM Eastern Standard Time</a:t>
            </a:r>
            <a:endParaRPr lang="en-GB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01055" y="956450"/>
            <a:ext cx="8351035" cy="5078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3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01053" y="2151662"/>
            <a:ext cx="8351035" cy="219820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6" name="doc id"/>
          <p:cNvSpPr>
            <a:spLocks noChangeArrowheads="1"/>
          </p:cNvSpPr>
          <p:nvPr userDrawn="1"/>
        </p:nvSpPr>
        <p:spPr bwMode="gray">
          <a:xfrm>
            <a:off x="10995488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5138" fontAlgn="base">
              <a:spcBef>
                <a:spcPct val="0"/>
              </a:spcBef>
              <a:spcAft>
                <a:spcPct val="0"/>
              </a:spcAft>
            </a:pPr>
            <a:r>
              <a:rPr lang="en-GB" sz="800" smtClean="0">
                <a:solidFill>
                  <a:srgbClr val="FFFFFF"/>
                </a:solidFill>
              </a:rPr>
              <a:t>Doc ID</a:t>
            </a:r>
            <a:endParaRPr lang="en-GB" sz="800" dirty="0">
              <a:solidFill>
                <a:srgbClr val="FFFFFF"/>
              </a:solidFill>
            </a:endParaRPr>
          </a:p>
        </p:txBody>
      </p:sp>
      <p:pic>
        <p:nvPicPr>
          <p:cNvPr id="17" name="Picture Placeholder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409"/>
          <a:stretch/>
        </p:blipFill>
        <p:spPr>
          <a:xfrm rot="5400000">
            <a:off x="-207907" y="1015589"/>
            <a:ext cx="1986284" cy="545705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1618359" y="295367"/>
            <a:ext cx="0" cy="2846387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" name="McK Title Elements" hidden="1"/>
          <p:cNvGrpSpPr/>
          <p:nvPr userDrawn="1"/>
        </p:nvGrpSpPr>
        <p:grpSpPr>
          <a:xfrm>
            <a:off x="2201055" y="3064345"/>
            <a:ext cx="8351035" cy="494023"/>
            <a:chOff x="2161041" y="3213100"/>
            <a:chExt cx="613822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161041" y="3213100"/>
              <a:ext cx="613822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smtClean="0">
                  <a:solidFill>
                    <a:srgbClr val="000000"/>
                  </a:solidFill>
                  <a:latin typeface="Georgia"/>
                </a:rPr>
                <a:t>Document type</a:t>
              </a:r>
              <a:endParaRPr lang="en-GB" sz="1400" dirty="0" smtClean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161041" y="3481388"/>
              <a:ext cx="613822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smtClean="0">
                  <a:solidFill>
                    <a:srgbClr val="000000"/>
                  </a:solidFill>
                  <a:latin typeface="Georgia"/>
                </a:rPr>
                <a:t>Date</a:t>
              </a:r>
              <a:endParaRPr lang="en-GB" sz="1400" dirty="0" smtClean="0">
                <a:solidFill>
                  <a:srgbClr val="000000"/>
                </a:solidFill>
                <a:latin typeface="Georgi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8948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758206" y="234864"/>
            <a:ext cx="11129383" cy="314028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35110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2189" y="234864"/>
            <a:ext cx="9435280" cy="314028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pic>
        <p:nvPicPr>
          <p:cNvPr id="7" name="Picture 6" descr="RT_logo_whit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36" y="361294"/>
            <a:ext cx="980544" cy="357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71920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286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51984" y="6100853"/>
            <a:ext cx="10800000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69858" indent="-16985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10"/>
          </p:nvPr>
        </p:nvSpPr>
        <p:spPr>
          <a:xfrm>
            <a:off x="1049867" y="1631949"/>
            <a:ext cx="10800000" cy="12561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0593" tIns="45301" rIns="90593" bIns="45301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534953" y="0"/>
            <a:ext cx="7145865" cy="298800"/>
          </a:xfrm>
          <a:prstGeom prst="rect">
            <a:avLst/>
          </a:prstGeom>
        </p:spPr>
        <p:txBody>
          <a:bodyPr lIns="90593" tIns="45301" rIns="90593" bIns="45301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1049121" y="0"/>
            <a:ext cx="823316" cy="298800"/>
          </a:xfrm>
          <a:prstGeom prst="rect">
            <a:avLst/>
          </a:prstGeom>
        </p:spPr>
        <p:txBody>
          <a:bodyPr lIns="90593" tIns="45301" rIns="90593" bIns="45301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88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" r="-406"/>
          <a:stretch/>
        </p:blipFill>
        <p:spPr>
          <a:xfrm rot="5400000">
            <a:off x="-207907" y="1015586"/>
            <a:ext cx="1986284" cy="545705"/>
          </a:xfrm>
          <a:prstGeom prst="rect">
            <a:avLst/>
          </a:prstGeom>
        </p:spPr>
      </p:pic>
      <p:sp>
        <p:nvSpPr>
          <p:cNvPr id="20" name="Picture Placeholder 19"/>
          <p:cNvSpPr>
            <a:spLocks noGrp="1"/>
          </p:cNvSpPr>
          <p:nvPr>
            <p:ph type="pic" sz="quarter" idx="11"/>
          </p:nvPr>
        </p:nvSpPr>
        <p:spPr>
          <a:xfrm>
            <a:off x="0" y="3430598"/>
            <a:ext cx="12192000" cy="251222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-662489" y="4016905"/>
            <a:ext cx="184321" cy="369128"/>
          </a:xfrm>
          <a:prstGeom prst="rect">
            <a:avLst/>
          </a:prstGeom>
          <a:noFill/>
        </p:spPr>
        <p:txBody>
          <a:bodyPr wrap="none" lIns="91237" tIns="45619" rIns="91237" bIns="45619">
            <a:spAutoFit/>
          </a:bodyPr>
          <a:lstStyle/>
          <a:p>
            <a:pPr defTabSz="456184">
              <a:defRPr/>
            </a:pPr>
            <a:endParaRPr lang="en-GB" sz="1800">
              <a:solidFill>
                <a:srgbClr val="646464"/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1618359" y="295298"/>
            <a:ext cx="0" cy="2846387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065873" y="545910"/>
            <a:ext cx="9159300" cy="1882560"/>
          </a:xfrm>
        </p:spPr>
        <p:txBody>
          <a:bodyPr bIns="35920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065873" y="2428492"/>
            <a:ext cx="9159300" cy="713193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 algn="l"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2pPr>
            <a:lvl3pPr marL="912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>
          <a:xfrm>
            <a:off x="2194954" y="202934"/>
            <a:ext cx="4176213" cy="342976"/>
          </a:xfrm>
          <a:prstGeom prst="rect">
            <a:avLst/>
          </a:prstGeom>
        </p:spPr>
        <p:txBody>
          <a:bodyPr vert="horz" lIns="0" tIns="45619" rIns="91237" bIns="45619" rtlCol="0" anchor="t" anchorCtr="0"/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8825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Cut 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-662489" y="4016905"/>
            <a:ext cx="184321" cy="369128"/>
          </a:xfrm>
          <a:prstGeom prst="rect">
            <a:avLst/>
          </a:prstGeom>
          <a:noFill/>
        </p:spPr>
        <p:txBody>
          <a:bodyPr wrap="none" lIns="91237" tIns="45619" rIns="91237" bIns="45619">
            <a:spAutoFit/>
          </a:bodyPr>
          <a:lstStyle/>
          <a:p>
            <a:pPr defTabSz="456184">
              <a:defRPr/>
            </a:pPr>
            <a:endParaRPr lang="en-GB" sz="1800">
              <a:solidFill>
                <a:srgbClr val="646464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065873" y="545910"/>
            <a:ext cx="9159300" cy="1882560"/>
          </a:xfrm>
        </p:spPr>
        <p:txBody>
          <a:bodyPr bIns="35920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065873" y="2428491"/>
            <a:ext cx="9159300" cy="539955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 algn="l"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2pPr>
            <a:lvl3pPr marL="912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cxnSp>
        <p:nvCxnSpPr>
          <p:cNvPr id="15" name="Straight Connector 14"/>
          <p:cNvCxnSpPr/>
          <p:nvPr userDrawn="1"/>
        </p:nvCxnSpPr>
        <p:spPr>
          <a:xfrm rot="5400000">
            <a:off x="-1664459" y="3578995"/>
            <a:ext cx="6563518" cy="2117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4848000" y="2968839"/>
            <a:ext cx="7344000" cy="251222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0" name="Date Placeholder 6"/>
          <p:cNvSpPr>
            <a:spLocks noGrp="1"/>
          </p:cNvSpPr>
          <p:nvPr>
            <p:ph type="dt" sz="half" idx="10"/>
          </p:nvPr>
        </p:nvSpPr>
        <p:spPr>
          <a:xfrm>
            <a:off x="2194954" y="202934"/>
            <a:ext cx="4176213" cy="342976"/>
          </a:xfrm>
          <a:prstGeom prst="rect">
            <a:avLst/>
          </a:prstGeom>
        </p:spPr>
        <p:txBody>
          <a:bodyPr vert="horz" lIns="0" tIns="45619" rIns="91237" bIns="45619" rtlCol="0" anchor="t" anchorCtr="0"/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646464"/>
              </a:solidFill>
            </a:endParaRPr>
          </a:p>
        </p:txBody>
      </p:sp>
      <p:pic>
        <p:nvPicPr>
          <p:cNvPr id="9" name="Picture Placeholder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" r="-406"/>
          <a:stretch/>
        </p:blipFill>
        <p:spPr>
          <a:xfrm rot="5400000">
            <a:off x="-207907" y="1015586"/>
            <a:ext cx="1986284" cy="54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8106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-662489" y="4016905"/>
            <a:ext cx="184321" cy="369128"/>
          </a:xfrm>
          <a:prstGeom prst="rect">
            <a:avLst/>
          </a:prstGeom>
          <a:noFill/>
        </p:spPr>
        <p:txBody>
          <a:bodyPr wrap="none" lIns="91237" tIns="45619" rIns="91237" bIns="45619">
            <a:spAutoFit/>
          </a:bodyPr>
          <a:lstStyle/>
          <a:p>
            <a:pPr defTabSz="456184">
              <a:defRPr/>
            </a:pPr>
            <a:endParaRPr lang="en-GB" sz="1800">
              <a:solidFill>
                <a:srgbClr val="646464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065873" y="2172759"/>
            <a:ext cx="9159300" cy="1882560"/>
          </a:xfrm>
        </p:spPr>
        <p:txBody>
          <a:bodyPr bIns="35920" anchor="t" anchorCtr="0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  <a:latin typeface="+mj-lt"/>
                <a:cs typeface="Georgia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065873" y="4055319"/>
            <a:ext cx="9159300" cy="1251694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 algn="l">
              <a:spcBef>
                <a:spcPts val="0"/>
              </a:spcBef>
              <a:buNone/>
              <a:defRPr sz="1400" b="0">
                <a:solidFill>
                  <a:schemeClr val="tx2"/>
                </a:solidFill>
              </a:defRPr>
            </a:lvl2pPr>
            <a:lvl3pPr marL="912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cxnSp>
        <p:nvCxnSpPr>
          <p:cNvPr id="14" name="Straight Connector 13"/>
          <p:cNvCxnSpPr/>
          <p:nvPr userDrawn="1"/>
        </p:nvCxnSpPr>
        <p:spPr>
          <a:xfrm rot="5400000">
            <a:off x="-1664459" y="3578995"/>
            <a:ext cx="6563518" cy="2117"/>
          </a:xfrm>
          <a:prstGeom prst="line">
            <a:avLst/>
          </a:prstGeom>
          <a:ln w="15875"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Date Placeholder 6"/>
          <p:cNvSpPr>
            <a:spLocks noGrp="1"/>
          </p:cNvSpPr>
          <p:nvPr>
            <p:ph type="dt" sz="half" idx="10"/>
          </p:nvPr>
        </p:nvSpPr>
        <p:spPr>
          <a:xfrm>
            <a:off x="2194954" y="202934"/>
            <a:ext cx="4176213" cy="342976"/>
          </a:xfrm>
          <a:prstGeom prst="rect">
            <a:avLst/>
          </a:prstGeom>
        </p:spPr>
        <p:txBody>
          <a:bodyPr vert="horz" lIns="0" tIns="45619" rIns="91237" bIns="45619" rtlCol="0" anchor="t" anchorCtr="0"/>
          <a:lstStyle>
            <a:lvl1pPr algn="l"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646464"/>
              </a:solidFill>
            </a:endParaRPr>
          </a:p>
        </p:txBody>
      </p:sp>
      <p:pic>
        <p:nvPicPr>
          <p:cNvPr id="10" name="Picture Placeholder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" r="-406"/>
          <a:stretch/>
        </p:blipFill>
        <p:spPr>
          <a:xfrm rot="5400000">
            <a:off x="-207907" y="1015586"/>
            <a:ext cx="1986284" cy="54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3853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vert="horz" lIns="91237" tIns="45619" rIns="107760" bIns="45619" rtlCol="0" anchor="b" anchorCtr="0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646464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24687" y="6559200"/>
            <a:ext cx="823316" cy="298800"/>
          </a:xfrm>
          <a:prstGeom prst="rect">
            <a:avLst/>
          </a:prstGeom>
        </p:spPr>
        <p:txBody>
          <a:bodyPr vert="horz" wrap="square" lIns="91237" tIns="45619" rIns="0" bIns="45619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1"/>
                </a:solidFill>
                <a:latin typeface="Arial" pitchFamily="51" charset="0"/>
                <a:ea typeface="Arial" pitchFamily="51" charset="0"/>
                <a:cs typeface="Arial" pitchFamily="51" charset="0"/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2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vert="horz" lIns="91237" tIns="45619" rIns="91237" bIns="45619" rtlCol="0" anchor="b" anchorCtr="0"/>
          <a:lstStyle>
            <a:lvl1pPr algn="l">
              <a:defRPr lang="en-GB" dirty="0" smtClean="0"/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646464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3" name="Content Placeholder 16"/>
          <p:cNvSpPr>
            <a:spLocks noGrp="1"/>
          </p:cNvSpPr>
          <p:nvPr>
            <p:ph sz="quarter" idx="10"/>
          </p:nvPr>
        </p:nvSpPr>
        <p:spPr>
          <a:xfrm>
            <a:off x="1049867" y="1631963"/>
            <a:ext cx="10800000" cy="12561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8634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38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51984" y="6100784"/>
            <a:ext cx="10800000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10"/>
          </p:nvPr>
        </p:nvSpPr>
        <p:spPr>
          <a:xfrm>
            <a:off x="1049867" y="1631962"/>
            <a:ext cx="10800000" cy="12561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5350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>
          <a:xfrm>
            <a:off x="11368714" y="6549656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9190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" r="-406"/>
          <a:stretch/>
        </p:blipFill>
        <p:spPr>
          <a:xfrm rot="5400000">
            <a:off x="-40769" y="591815"/>
            <a:ext cx="821152" cy="2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0364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051200" y="1631972"/>
            <a:ext cx="5313600" cy="48609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4"/>
          </p:nvPr>
        </p:nvSpPr>
        <p:spPr>
          <a:xfrm>
            <a:off x="6563032" y="1631972"/>
            <a:ext cx="5313600" cy="48609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5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11049030" y="6525511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1264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56218" y="6100784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67248" y="6100784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5"/>
          </p:nvPr>
        </p:nvSpPr>
        <p:spPr>
          <a:xfrm>
            <a:off x="1051200" y="1631950"/>
            <a:ext cx="5313600" cy="4473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6"/>
          </p:nvPr>
        </p:nvSpPr>
        <p:spPr>
          <a:xfrm>
            <a:off x="6563032" y="1631950"/>
            <a:ext cx="5313600" cy="44735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7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8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9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0742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51984" y="1631972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600" b="1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67248" y="1631972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600" b="1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5"/>
          </p:nvPr>
        </p:nvSpPr>
        <p:spPr>
          <a:xfrm>
            <a:off x="1051200" y="2024063"/>
            <a:ext cx="5313600" cy="44688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6"/>
          </p:nvPr>
        </p:nvSpPr>
        <p:spPr>
          <a:xfrm>
            <a:off x="6563032" y="2024063"/>
            <a:ext cx="5313600" cy="44688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942687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049871" y="1631972"/>
            <a:ext cx="532129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600" b="1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567248" y="1631972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600" b="1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056218" y="6100784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557367" y="6098607"/>
            <a:ext cx="5314949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17"/>
          </p:nvPr>
        </p:nvSpPr>
        <p:spPr>
          <a:xfrm>
            <a:off x="1051200" y="2024068"/>
            <a:ext cx="5313600" cy="40745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5" name="Content Placeholder 8"/>
          <p:cNvSpPr>
            <a:spLocks noGrp="1"/>
          </p:cNvSpPr>
          <p:nvPr>
            <p:ph sz="quarter" idx="18"/>
          </p:nvPr>
        </p:nvSpPr>
        <p:spPr>
          <a:xfrm>
            <a:off x="6563032" y="2024068"/>
            <a:ext cx="5313600" cy="40745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50252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83216" y="1631949"/>
            <a:ext cx="10667984" cy="4473575"/>
          </a:xfrm>
          <a:prstGeom prst="rect">
            <a:avLst/>
          </a:prstGeom>
          <a:ln w="31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txBody>
          <a:bodyPr rtlCol="0"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6184" indent="0">
              <a:buNone/>
              <a:defRPr sz="2800"/>
            </a:lvl2pPr>
            <a:lvl3pPr marL="912366" indent="0">
              <a:buNone/>
              <a:defRPr sz="2400"/>
            </a:lvl3pPr>
            <a:lvl4pPr marL="1368550" indent="0">
              <a:buNone/>
              <a:defRPr sz="2000"/>
            </a:lvl4pPr>
            <a:lvl5pPr marL="1824733" indent="0">
              <a:buNone/>
              <a:defRPr sz="2000"/>
            </a:lvl5pPr>
            <a:lvl6pPr marL="2280917" indent="0">
              <a:buNone/>
              <a:defRPr sz="2000"/>
            </a:lvl6pPr>
            <a:lvl7pPr marL="2737101" indent="0">
              <a:buNone/>
              <a:defRPr sz="2000"/>
            </a:lvl7pPr>
            <a:lvl8pPr marL="3193285" indent="0">
              <a:buNone/>
              <a:defRPr sz="2000"/>
            </a:lvl8pPr>
            <a:lvl9pPr marL="3649467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3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4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1051984" y="6097166"/>
            <a:ext cx="10800000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89661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1282700" y="2313924"/>
            <a:ext cx="10589616" cy="2512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1183217" y="1728612"/>
            <a:ext cx="10800000" cy="4082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8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9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3" name="Rectangle 22"/>
          <p:cNvSpPr/>
          <p:nvPr userDrawn="1"/>
        </p:nvSpPr>
        <p:spPr>
          <a:xfrm>
            <a:off x="1183217" y="1631971"/>
            <a:ext cx="10800000" cy="4473576"/>
          </a:xfrm>
          <a:prstGeom prst="rect">
            <a:avLst/>
          </a:prstGeom>
          <a:noFill/>
          <a:ln w="9525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37" tIns="45619" rIns="91237" bIns="45619" anchor="ctr"/>
          <a:lstStyle/>
          <a:p>
            <a:pPr algn="ctr" defTabSz="4561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smtClean="0">
                <a:solidFill>
                  <a:prstClr val="white"/>
                </a:solidFill>
              </a:rPr>
              <a:t>22.5</a:t>
            </a:r>
          </a:p>
          <a:p>
            <a:pPr algn="ctr" defTabSz="45618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prstClr val="white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318684" y="2280576"/>
            <a:ext cx="1055363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1052013" y="6097166"/>
            <a:ext cx="10931233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29399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1282701" y="2313924"/>
            <a:ext cx="5011837" cy="2512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1183246" y="1728612"/>
            <a:ext cx="5210495" cy="4082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8"/>
          </p:nvPr>
        </p:nvSpPr>
        <p:spPr>
          <a:xfrm>
            <a:off x="1049868" y="0"/>
            <a:ext cx="2417232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9"/>
          </p:nvPr>
        </p:nvSpPr>
        <p:spPr>
          <a:xfrm>
            <a:off x="3534862" y="0"/>
            <a:ext cx="7145865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</p:spPr>
        <p:txBody>
          <a:bodyPr lIns="93216" tIns="46609" rIns="93216" bIns="46609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  <a:defRPr/>
            </a:pPr>
            <a:fld id="{7141FCCF-8FC4-FD48-BC18-855ED9BEBE86}" type="slidenum">
              <a:rPr lang="en-GB" sz="1600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600">
              <a:solidFill>
                <a:srgbClr val="646464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3" name="Rectangle 22"/>
          <p:cNvSpPr/>
          <p:nvPr userDrawn="1"/>
        </p:nvSpPr>
        <p:spPr>
          <a:xfrm>
            <a:off x="1183246" y="1631971"/>
            <a:ext cx="5210495" cy="4473576"/>
          </a:xfrm>
          <a:prstGeom prst="rect">
            <a:avLst/>
          </a:prstGeom>
          <a:noFill/>
          <a:ln w="9525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37" tIns="45619" rIns="91237" bIns="45619" anchor="ctr"/>
          <a:lstStyle/>
          <a:p>
            <a:pPr algn="ctr" defTabSz="45618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prstClr val="white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318684" y="2280576"/>
            <a:ext cx="497655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1051986" y="6097166"/>
            <a:ext cx="5339181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Chart Placeholder 7"/>
          <p:cNvSpPr>
            <a:spLocks noGrp="1"/>
          </p:cNvSpPr>
          <p:nvPr>
            <p:ph type="chart" sz="quarter" idx="22"/>
          </p:nvPr>
        </p:nvSpPr>
        <p:spPr>
          <a:xfrm>
            <a:off x="6768068" y="2313924"/>
            <a:ext cx="5015323" cy="2512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3"/>
          </p:nvPr>
        </p:nvSpPr>
        <p:spPr>
          <a:xfrm>
            <a:off x="6672376" y="1728612"/>
            <a:ext cx="5214117" cy="40823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defRPr sz="14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/>
            </a:lvl3pPr>
            <a:lvl4pPr marL="0" indent="0">
              <a:spcBef>
                <a:spcPts val="0"/>
              </a:spcBef>
              <a:buFontTx/>
              <a:buNone/>
              <a:defRPr sz="1200"/>
            </a:lvl4pPr>
            <a:lvl5pPr marL="0" indent="0">
              <a:spcBef>
                <a:spcPts val="0"/>
              </a:spcBef>
              <a:buFontTx/>
              <a:buNone/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672376" y="1631971"/>
            <a:ext cx="5214117" cy="4473576"/>
          </a:xfrm>
          <a:prstGeom prst="rect">
            <a:avLst/>
          </a:prstGeom>
          <a:noFill/>
          <a:ln w="9525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37" tIns="45619" rIns="91237" bIns="45619" anchor="ctr"/>
          <a:lstStyle/>
          <a:p>
            <a:pPr algn="ctr" defTabSz="45618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prstClr val="white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803405" y="2280576"/>
            <a:ext cx="4980012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6612935" y="6097166"/>
            <a:ext cx="5342893" cy="392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600"/>
              </a:spcBef>
              <a:defRPr sz="11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100"/>
            </a:lvl2pPr>
            <a:lvl3pPr>
              <a:spcBef>
                <a:spcPts val="300"/>
              </a:spcBef>
              <a:defRPr sz="1100"/>
            </a:lvl3pPr>
            <a:lvl4pPr>
              <a:spcBef>
                <a:spcPts val="300"/>
              </a:spcBef>
              <a:defRPr sz="1100"/>
            </a:lvl4pPr>
            <a:lvl5pPr marL="171068" indent="-171068">
              <a:spcBef>
                <a:spcPts val="300"/>
              </a:spcBef>
              <a:buFont typeface="Arial" pitchFamily="34" charset="0"/>
              <a:buChar char="•"/>
              <a:defRPr sz="1100"/>
            </a:lvl5pPr>
            <a:lvl6pPr>
              <a:defRPr sz="1100"/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81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80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5525" y="373080"/>
            <a:ext cx="10310283" cy="376834"/>
          </a:xfrm>
        </p:spPr>
        <p:txBody>
          <a:bodyPr/>
          <a:lstStyle>
            <a:lvl1pPr>
              <a:defRPr sz="2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34862" y="0"/>
            <a:ext cx="7145865" cy="298800"/>
          </a:xfrm>
          <a:prstGeom prst="rect">
            <a:avLst/>
          </a:prstGeom>
          <a:ln/>
        </p:spPr>
        <p:txBody>
          <a:bodyPr lIns="93216" tIns="46609" rIns="93216" bIns="46609"/>
          <a:lstStyle>
            <a:lvl1pPr>
              <a:defRPr/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r>
              <a:rPr lang="en-US" sz="1600" smtClean="0">
                <a:solidFill>
                  <a:srgbClr val="646464"/>
                </a:solidFill>
              </a:rPr>
              <a:t>[Name of conference]</a:t>
            </a:r>
            <a:endParaRPr lang="en-US" sz="1600" dirty="0">
              <a:solidFill>
                <a:srgbClr val="646464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027914" y="6559938"/>
            <a:ext cx="823316" cy="298800"/>
          </a:xfrm>
          <a:prstGeom prst="rect">
            <a:avLst/>
          </a:prstGeom>
          <a:ln/>
        </p:spPr>
        <p:txBody>
          <a:bodyPr lIns="93216" tIns="46609" rIns="93216" bIns="46609"/>
          <a:lstStyle>
            <a:lvl1pPr>
              <a:defRPr sz="1000"/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fld id="{5C12814C-AC16-4156-8178-551211759A4D}" type="slidenum">
              <a:rPr lang="en-US" smtClean="0">
                <a:solidFill>
                  <a:srgbClr val="646464"/>
                </a:solidFill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1051200" y="1323995"/>
            <a:ext cx="11013800" cy="51689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/>
              <a:defRPr sz="1200" b="1">
                <a:solidFill>
                  <a:schemeClr val="tx1"/>
                </a:solidFill>
              </a:defRPr>
            </a:lvl1pPr>
            <a:lvl2pPr marL="178989" indent="-178989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446678" indent="-256604"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2790" indent="-255032">
              <a:buClr>
                <a:schemeClr val="tx1"/>
              </a:buClr>
              <a:buFont typeface="Wingdings" panose="05000000000000000000" pitchFamily="2" charset="2"/>
              <a:buChar char="§"/>
              <a:defRPr sz="1200" baseline="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75990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29" y="-297"/>
            <a:ext cx="12193057" cy="685859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34964" y="756745"/>
            <a:ext cx="5955770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15583" y="2940182"/>
            <a:ext cx="4986705" cy="461665"/>
          </a:xfr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smtClean="0"/>
              <a:t>Jean Sebastien Jacques – CEO visit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15583" y="1514747"/>
            <a:ext cx="567515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RTB - Borate Operation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2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1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3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65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9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57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28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22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222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14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86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89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320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517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5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335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87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50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22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93059" y="1661686"/>
            <a:ext cx="5671170" cy="443431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60C962-51B4-4A11-8D76-DBDADE6EAB8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03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339106" y="3974581"/>
            <a:ext cx="5671170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193059" y="1661686"/>
            <a:ext cx="5671170" cy="443263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FEB55F-AD44-4E77-ADD5-3355BF7AEF0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92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310396" y="1657350"/>
            <a:ext cx="7547588" cy="4438800"/>
          </a:xfrm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2BEB0C7-A088-444A-8603-5273A1429899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7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1152128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7344" y="6123760"/>
            <a:ext cx="11519693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1EDDCDD-B1CA-4788-A141-8B021EF4B5B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47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rge &amp; Two Small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7661440" cy="4438650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057025" y="3903600"/>
            <a:ext cx="3801600" cy="2192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766144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6BCF9C2-3400-4F46-B176-9B86BCD4BE2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79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3734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805702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197185" y="1657350"/>
            <a:ext cx="3801600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3734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19718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8057025" y="6123760"/>
            <a:ext cx="3801600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7BA9D25-5ECF-4C2B-9C26-5389D32E8784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96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3962400"/>
            <a:ext cx="12192000" cy="23114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39106" y="1661686"/>
            <a:ext cx="115179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F77E624-35E7-4FF6-904F-8F0FA780148C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12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 &amp; 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4962" y="1657351"/>
            <a:ext cx="3752851" cy="4438650"/>
          </a:xfrm>
          <a:solidFill>
            <a:schemeClr val="accent4"/>
          </a:solidFill>
        </p:spPr>
        <p:txBody>
          <a:bodyPr lIns="684000" tIns="144000" rIns="54000" bIns="54000"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260850" y="1657350"/>
            <a:ext cx="3654425" cy="443865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8111506" y="1661686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8111506" y="3976261"/>
            <a:ext cx="3745532" cy="2119739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BBAAE38-10EB-4BA4-939A-65D24DBD34C6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260849" y="6123760"/>
            <a:ext cx="3654425" cy="269420"/>
          </a:xfrm>
        </p:spPr>
        <p:txBody>
          <a:bodyPr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defRPr sz="10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7121622-224F-4604-A649-8C2A91702D82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40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D978D20-D3D9-46CE-9A79-0EA980CA8FF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23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9E7212-0A09-42F7-A362-C10644E0B697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29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378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798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29" y="-297"/>
            <a:ext cx="12193057" cy="685859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334964" y="756745"/>
            <a:ext cx="5955770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15583" y="2940182"/>
            <a:ext cx="4986705" cy="461665"/>
          </a:xfr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smtClean="0"/>
              <a:t>Jean Sebastien Jacques – CEO visit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15583" y="1514747"/>
            <a:ext cx="567515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RTB - Borate Operation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98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6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94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46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8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76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71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1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06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34963" y="756745"/>
            <a:ext cx="5267325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15583" y="2940182"/>
            <a:ext cx="4745037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15583" y="1514747"/>
            <a:ext cx="4745037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3" y="3416914"/>
            <a:ext cx="4745037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63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32024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15584" y="2940182"/>
            <a:ext cx="6878910" cy="461665"/>
          </a:xfr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615584" y="1514747"/>
            <a:ext cx="6878910" cy="1323439"/>
          </a:xfrm>
        </p:spPr>
        <p:txBody>
          <a:bodyPr lIns="0" anchor="ctr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15584" y="3416914"/>
            <a:ext cx="6878910" cy="369332"/>
          </a:xfrm>
        </p:spPr>
        <p:txBody>
          <a:bodyPr anchor="ctr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756745"/>
            <a:ext cx="1930415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38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190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Te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914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493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831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Rub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649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34963" y="756745"/>
            <a:ext cx="7240213" cy="143364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15584" y="808891"/>
            <a:ext cx="6878910" cy="1329350"/>
          </a:xfrm>
          <a:noFill/>
        </p:spPr>
        <p:txBody>
          <a:bodyPr wrap="square" lIns="72000" tIns="36000" rIns="72000" bIns="36000" anchor="ctr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75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70290F4-3857-4872-8AE4-DA58ED8B3950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88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ags" Target="../tags/tag7.xml"/><Relationship Id="rId39" Type="http://schemas.openxmlformats.org/officeDocument/2006/relationships/oleObject" Target="../embeddings/oleObject3.bin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2.xml"/><Relationship Id="rId34" Type="http://schemas.openxmlformats.org/officeDocument/2006/relationships/tags" Target="../tags/tag15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tags" Target="../tags/tag10.xml"/><Relationship Id="rId41" Type="http://schemas.openxmlformats.org/officeDocument/2006/relationships/image" Target="../media/image6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image" Target="../media/image5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vmlDrawing" Target="../drawings/vmlDrawing3.v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tags" Target="../tags/tag22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vmlDrawing" Target="../drawings/vmlDrawing6.v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image" Target="../media/image13.emf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oleObject" Target="../embeddings/oleObject8.bin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29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tags" Target="../tags/tag24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vmlDrawing" Target="../drawings/vmlDrawing8.v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31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34" Type="http://schemas.openxmlformats.org/officeDocument/2006/relationships/oleObject" Target="../embeddings/oleObject17.bin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slideLayout" Target="../slideLayouts/slideLayout169.xml"/><Relationship Id="rId33" Type="http://schemas.openxmlformats.org/officeDocument/2006/relationships/tags" Target="../tags/tag33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29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vmlDrawing" Target="../drawings/vmlDrawing17.v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slideLayout" Target="../slideLayouts/slideLayout171.xml"/><Relationship Id="rId30" Type="http://schemas.openxmlformats.org/officeDocument/2006/relationships/slideLayout" Target="../slideLayouts/slideLayout174.xml"/><Relationship Id="rId35" Type="http://schemas.openxmlformats.org/officeDocument/2006/relationships/image" Target="../media/image1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26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95.xml"/><Relationship Id="rId34" Type="http://schemas.openxmlformats.org/officeDocument/2006/relationships/oleObject" Target="../embeddings/oleObject22.bin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slideLayout" Target="../slideLayouts/slideLayout199.xml"/><Relationship Id="rId33" Type="http://schemas.openxmlformats.org/officeDocument/2006/relationships/tags" Target="../tags/tag38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29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slideLayout" Target="../slideLayouts/slideLayout198.xml"/><Relationship Id="rId32" Type="http://schemas.openxmlformats.org/officeDocument/2006/relationships/vmlDrawing" Target="../drawings/vmlDrawing22.v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slideLayout" Target="../slideLayouts/slideLayout197.xml"/><Relationship Id="rId28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slideLayout" Target="../slideLayouts/slideLayout196.xml"/><Relationship Id="rId27" Type="http://schemas.openxmlformats.org/officeDocument/2006/relationships/slideLayout" Target="../slideLayouts/slideLayout201.xml"/><Relationship Id="rId30" Type="http://schemas.openxmlformats.org/officeDocument/2006/relationships/slideLayout" Target="../slideLayouts/slideLayout204.xml"/><Relationship Id="rId35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26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207.xml"/><Relationship Id="rId21" Type="http://schemas.openxmlformats.org/officeDocument/2006/relationships/slideLayout" Target="../slideLayouts/slideLayout225.xml"/><Relationship Id="rId34" Type="http://schemas.openxmlformats.org/officeDocument/2006/relationships/oleObject" Target="../embeddings/oleObject24.bin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29.xml"/><Relationship Id="rId33" Type="http://schemas.openxmlformats.org/officeDocument/2006/relationships/tags" Target="../tags/tag40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0" Type="http://schemas.openxmlformats.org/officeDocument/2006/relationships/slideLayout" Target="../slideLayouts/slideLayout224.xml"/><Relationship Id="rId29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24" Type="http://schemas.openxmlformats.org/officeDocument/2006/relationships/slideLayout" Target="../slideLayouts/slideLayout228.xml"/><Relationship Id="rId32" Type="http://schemas.openxmlformats.org/officeDocument/2006/relationships/vmlDrawing" Target="../drawings/vmlDrawing24.vml"/><Relationship Id="rId5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9.xml"/><Relationship Id="rId23" Type="http://schemas.openxmlformats.org/officeDocument/2006/relationships/slideLayout" Target="../slideLayouts/slideLayout227.xml"/><Relationship Id="rId28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223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Relationship Id="rId27" Type="http://schemas.openxmlformats.org/officeDocument/2006/relationships/slideLayout" Target="../slideLayouts/slideLayout231.xml"/><Relationship Id="rId30" Type="http://schemas.openxmlformats.org/officeDocument/2006/relationships/slideLayout" Target="../slideLayouts/slideLayout234.xml"/><Relationship Id="rId35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image" Target="../media/image16.jpeg"/><Relationship Id="rId3" Type="http://schemas.openxmlformats.org/officeDocument/2006/relationships/theme" Target="../theme/theme9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236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slideLayout" Target="../slideLayouts/slideLayout235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oleObject" Target="../embeddings/oleObject26.bin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vmlDrawing" Target="../drawings/vmlDrawing26.v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299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34" imgW="383" imgH="384" progId="TCLayout.ActiveDocument.1">
                  <p:embed/>
                </p:oleObj>
              </mc:Choice>
              <mc:Fallback>
                <p:oleObj name="think-cell Slide" r:id="rId3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Rio Tinto 2017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/>
              <a:t>18/06/2019 12:13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4412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650" r:id="rId19"/>
    <p:sldLayoutId id="2147483797" r:id="rId20"/>
    <p:sldLayoutId id="2147483798" r:id="rId21"/>
    <p:sldLayoutId id="2147483690" r:id="rId22"/>
    <p:sldLayoutId id="2147483676" r:id="rId23"/>
    <p:sldLayoutId id="2147483680" r:id="rId24"/>
    <p:sldLayoutId id="2147483677" r:id="rId25"/>
    <p:sldLayoutId id="2147483803" r:id="rId26"/>
    <p:sldLayoutId id="2147483804" r:id="rId27"/>
    <p:sldLayoutId id="2147483654" r:id="rId28"/>
    <p:sldLayoutId id="2147483750" r:id="rId29"/>
    <p:sldLayoutId id="2147483795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 userDrawn="1">
          <p15:clr>
            <a:srgbClr val="547EBF"/>
          </p15:clr>
        </p15:guide>
        <p15:guide id="2" pos="7469" userDrawn="1">
          <p15:clr>
            <a:srgbClr val="547EBF"/>
          </p15:clr>
        </p15:guide>
        <p15:guide id="3" orient="horz" pos="210" userDrawn="1">
          <p15:clr>
            <a:srgbClr val="F26B43"/>
          </p15:clr>
        </p15:guide>
        <p15:guide id="19" orient="horz" pos="1044" userDrawn="1">
          <p15:clr>
            <a:srgbClr val="547EBF"/>
          </p15:clr>
        </p15:guide>
        <p15:guide id="29" orient="horz" pos="3838" userDrawn="1">
          <p15:clr>
            <a:srgbClr val="547EBF"/>
          </p15:clr>
        </p15:guide>
        <p15:guide id="40" orient="horz" pos="2438" userDrawn="1">
          <p15:clr>
            <a:srgbClr val="547EBF"/>
          </p15:clr>
        </p15:guide>
        <p15:guide id="41" pos="3840" userDrawn="1">
          <p15:clr>
            <a:srgbClr val="547EBF"/>
          </p15:clr>
        </p15:guide>
        <p15:guide id="43" orient="horz" pos="4248" userDrawn="1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3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9714" y="1980968"/>
            <a:ext cx="18947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6/17/2013 10:59 PM GMT Standard Time</a:t>
            </a:r>
            <a:endParaRPr lang="en-GB" sz="16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52307" y="4198938"/>
            <a:ext cx="16895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0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6/7/2013 8:58 AM Eastern Standard Time</a:t>
            </a:r>
            <a:endParaRPr lang="en-GB" sz="16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04605" y="2363856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758206" y="234864"/>
            <a:ext cx="1112938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758085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r>
              <a:rPr lang="en-GB" sz="1400" smtClean="0">
                <a:solidFill>
                  <a:srgbClr val="808080"/>
                </a:solidFill>
              </a:rPr>
              <a:t>TRACKER</a:t>
            </a:r>
            <a:endParaRPr lang="en-GB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758206" y="569273"/>
            <a:ext cx="1112938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en-GB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04611" y="1767953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smtClean="0">
                  <a:solidFill>
                    <a:srgbClr val="808080"/>
                  </a:solidFill>
                </a:rPr>
                <a:t>Unit of measure</a:t>
              </a:r>
              <a:endParaRPr lang="en-GB" sz="1600" dirty="0">
                <a:solidFill>
                  <a:srgbClr val="808080"/>
                </a:solidFill>
              </a:endParaRPr>
            </a:p>
          </p:txBody>
        </p:sp>
      </p:grpSp>
      <p:pic>
        <p:nvPicPr>
          <p:cNvPr id="22" name="Picture 13" descr="RT_logo_red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4671" y="292624"/>
            <a:ext cx="358525" cy="1305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" name="McK Slide Elements" hidden="1"/>
          <p:cNvGrpSpPr>
            <a:grpSpLocks/>
          </p:cNvGrpSpPr>
          <p:nvPr/>
        </p:nvGrpSpPr>
        <p:grpSpPr bwMode="gray">
          <a:xfrm>
            <a:off x="746462" y="6357550"/>
            <a:ext cx="10600887" cy="379022"/>
            <a:chOff x="75" y="3925"/>
            <a:chExt cx="5385" cy="234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gray">
            <a:xfrm>
              <a:off x="75" y="392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gray">
            <a:xfrm>
              <a:off x="75" y="4062"/>
              <a:ext cx="49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5075" indent="-475075" defTabSz="904946" fontAlgn="base">
                <a:spcBef>
                  <a:spcPct val="0"/>
                </a:spcBef>
                <a:spcAft>
                  <a:spcPct val="0"/>
                </a:spcAft>
                <a:tabLst>
                  <a:tab pos="475075" algn="l"/>
                </a:tabLst>
              </a:pPr>
              <a:r>
                <a:rPr lang="en-GB" sz="1000" smtClean="0">
                  <a:solidFill>
                    <a:srgbClr val="000000"/>
                  </a:solidFill>
                </a:rPr>
                <a:t>Source: Source</a:t>
              </a:r>
              <a:endParaRPr lang="en-GB" sz="10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7" name="LegendBoxes" hidden="1"/>
          <p:cNvGrpSpPr>
            <a:grpSpLocks/>
          </p:cNvGrpSpPr>
          <p:nvPr/>
        </p:nvGrpSpPr>
        <p:grpSpPr bwMode="gray">
          <a:xfrm>
            <a:off x="10859419" y="282668"/>
            <a:ext cx="855277" cy="1013962"/>
            <a:chOff x="4936" y="176"/>
            <a:chExt cx="396" cy="626"/>
          </a:xfrm>
        </p:grpSpPr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  <p:sp>
          <p:nvSpPr>
            <p:cNvPr id="29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  <p:sp>
          <p:nvSpPr>
            <p:cNvPr id="31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  <p:sp>
          <p:nvSpPr>
            <p:cNvPr id="33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  <p:sp>
          <p:nvSpPr>
            <p:cNvPr id="35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6" name="LegendLines" hidden="1"/>
          <p:cNvGrpSpPr>
            <a:grpSpLocks/>
          </p:cNvGrpSpPr>
          <p:nvPr/>
        </p:nvGrpSpPr>
        <p:grpSpPr bwMode="gray">
          <a:xfrm>
            <a:off x="10440538" y="282592"/>
            <a:ext cx="1274275" cy="741845"/>
            <a:chOff x="4750" y="176"/>
            <a:chExt cx="590" cy="458"/>
          </a:xfrm>
        </p:grpSpPr>
        <p:sp>
          <p:nvSpPr>
            <p:cNvPr id="37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38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39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43" name="McKSticker" hidden="1"/>
          <p:cNvGrpSpPr/>
          <p:nvPr/>
        </p:nvGrpSpPr>
        <p:grpSpPr bwMode="gray">
          <a:xfrm>
            <a:off x="10831390" y="282577"/>
            <a:ext cx="1066896" cy="212366"/>
            <a:chOff x="7956579" y="285750"/>
            <a:chExt cx="784196" cy="208138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gray">
            <a:xfrm>
              <a:off x="7956579" y="285750"/>
              <a:ext cx="784196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808080"/>
                  </a:solidFill>
                </a:rPr>
                <a:t>PRELIMINARY</a:t>
              </a:r>
              <a:endParaRPr lang="en-GB" sz="1200" dirty="0">
                <a:solidFill>
                  <a:srgbClr val="808080"/>
                </a:solidFill>
              </a:endParaRPr>
            </a:p>
          </p:txBody>
        </p:sp>
        <p:cxnSp>
          <p:nvCxnSpPr>
            <p:cNvPr id="45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gray">
            <a:xfrm>
              <a:off x="7956579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gray">
            <a:xfrm>
              <a:off x="7956579" y="493888"/>
              <a:ext cx="78419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LegendMoons" hidden="1"/>
          <p:cNvGrpSpPr/>
          <p:nvPr/>
        </p:nvGrpSpPr>
        <p:grpSpPr bwMode="gray">
          <a:xfrm>
            <a:off x="10768508" y="282577"/>
            <a:ext cx="946031" cy="1333054"/>
            <a:chOff x="7769225" y="2105025"/>
            <a:chExt cx="695358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Arc 39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138" fontAlgn="base">
                <a:spcBef>
                  <a:spcPct val="0"/>
                </a:spcBef>
                <a:spcAft>
                  <a:spcPct val="0"/>
                </a:spcAft>
                <a:buClr>
                  <a:srgbClr val="007EA3"/>
                </a:buClr>
              </a:pPr>
              <a:r>
                <a:rPr lang="en-GB" sz="120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1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8" name="Slide Number"/>
          <p:cNvSpPr txBox="1">
            <a:spLocks/>
          </p:cNvSpPr>
          <p:nvPr/>
        </p:nvSpPr>
        <p:spPr>
          <a:xfrm>
            <a:off x="11944101" y="3071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10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GB" sz="1000" smtClean="0">
                <a:solidFill>
                  <a:srgbClr val="000000"/>
                </a:solidFill>
              </a:rPr>
              <a:pPr algn="r" defTabSz="9141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275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05138" rtl="0" eaLnBrk="1" fontAlgn="base" hangingPunct="1">
        <a:spcBef>
          <a:spcPct val="0"/>
        </a:spcBef>
        <a:spcAft>
          <a:spcPct val="0"/>
        </a:spcAft>
        <a:tabLst>
          <a:tab pos="27282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2154"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4391"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6595"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8792" algn="l" defTabSz="905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5793" indent="-194191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2154" indent="-264803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1081" indent="-157283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8007" indent="-131599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8007" indent="-131599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8007" indent="-131599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8007" indent="-131599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8007" indent="-131599" algn="l" defTabSz="905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54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391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595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792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993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3192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5391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590" algn="l" defTabSz="92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GB" sz="1000" dirty="0">
                <a:solidFill>
                  <a:srgbClr val="000000"/>
                </a:solidFill>
              </a:rPr>
              <a:t>© Rio Tinto 2017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378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2" r:id="rId25"/>
    <p:sldLayoutId id="2147483853" r:id="rId26"/>
    <p:sldLayoutId id="2147483854" r:id="rId27"/>
    <p:sldLayoutId id="2147483855" r:id="rId28"/>
    <p:sldLayoutId id="2147483856" r:id="rId29"/>
    <p:sldLayoutId id="2147483857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>
          <p15:clr>
            <a:srgbClr val="547EBF"/>
          </p15:clr>
        </p15:guide>
        <p15:guide id="2" pos="7469">
          <p15:clr>
            <a:srgbClr val="547EBF"/>
          </p15:clr>
        </p15:guide>
        <p15:guide id="3" orient="horz" pos="210">
          <p15:clr>
            <a:srgbClr val="F26B43"/>
          </p15:clr>
        </p15:guide>
        <p15:guide id="4" orient="horz" pos="1044">
          <p15:clr>
            <a:srgbClr val="547EBF"/>
          </p15:clr>
        </p15:guide>
        <p15:guide id="5" orient="horz" pos="3838">
          <p15:clr>
            <a:srgbClr val="547EBF"/>
          </p15:clr>
        </p15:guide>
        <p15:guide id="6" orient="horz" pos="2438">
          <p15:clr>
            <a:srgbClr val="547EBF"/>
          </p15:clr>
        </p15:guide>
        <p15:guide id="7" pos="3840">
          <p15:clr>
            <a:srgbClr val="547EBF"/>
          </p15:clr>
        </p15:guide>
        <p15:guide id="8" orient="horz" pos="4248">
          <p15:clr>
            <a:srgbClr val="547EBF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34" imgW="383" imgH="384" progId="TCLayout.ActiveDocument.1">
                  <p:embed/>
                </p:oleObj>
              </mc:Choice>
              <mc:Fallback>
                <p:oleObj name="think-cell Slide" r:id="rId3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000000"/>
                </a:solidFill>
              </a:rPr>
              <a:t>© Rio Tinto 2017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258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  <p:sldLayoutId id="2147483886" r:id="rId28"/>
    <p:sldLayoutId id="2147483887" r:id="rId29"/>
    <p:sldLayoutId id="2147483888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>
          <p15:clr>
            <a:srgbClr val="547EBF"/>
          </p15:clr>
        </p15:guide>
        <p15:guide id="2" pos="7469">
          <p15:clr>
            <a:srgbClr val="547EBF"/>
          </p15:clr>
        </p15:guide>
        <p15:guide id="3" orient="horz" pos="210">
          <p15:clr>
            <a:srgbClr val="F26B43"/>
          </p15:clr>
        </p15:guide>
        <p15:guide id="4" orient="horz" pos="1044">
          <p15:clr>
            <a:srgbClr val="547EBF"/>
          </p15:clr>
        </p15:guide>
        <p15:guide id="5" orient="horz" pos="3838">
          <p15:clr>
            <a:srgbClr val="547EBF"/>
          </p15:clr>
        </p15:guide>
        <p15:guide id="6" orient="horz" pos="2438">
          <p15:clr>
            <a:srgbClr val="547EBF"/>
          </p15:clr>
        </p15:guide>
        <p15:guide id="7" pos="3840">
          <p15:clr>
            <a:srgbClr val="547EBF"/>
          </p15:clr>
        </p15:guide>
        <p15:guide id="8" orient="horz" pos="4248">
          <p15:clr>
            <a:srgbClr val="547EB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38" imgW="362" imgH="362" progId="TCLayout.ActiveDocument.1">
                  <p:embed/>
                </p:oleObj>
              </mc:Choice>
              <mc:Fallback>
                <p:oleObj name="think-cell Slide" r:id="rId38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000000"/>
                </a:solidFill>
              </a:rPr>
              <a:t>© Rio Tinto 2017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76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  <p:sldLayoutId id="2147483914" r:id="rId25"/>
    <p:sldLayoutId id="2147483915" r:id="rId26"/>
    <p:sldLayoutId id="2147483916" r:id="rId27"/>
    <p:sldLayoutId id="2147483917" r:id="rId28"/>
    <p:sldLayoutId id="2147483918" r:id="rId29"/>
    <p:sldLayoutId id="2147483919" r:id="rId30"/>
    <p:sldLayoutId id="2147483920" r:id="rId31"/>
    <p:sldLayoutId id="2147483921" r:id="rId32"/>
    <p:sldLayoutId id="2147483922" r:id="rId33"/>
    <p:sldLayoutId id="2147483923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>
          <p15:clr>
            <a:srgbClr val="547EBF"/>
          </p15:clr>
        </p15:guide>
        <p15:guide id="2" pos="7469">
          <p15:clr>
            <a:srgbClr val="547EBF"/>
          </p15:clr>
        </p15:guide>
        <p15:guide id="3" orient="horz" pos="210">
          <p15:clr>
            <a:srgbClr val="F26B43"/>
          </p15:clr>
        </p15:guide>
        <p15:guide id="4" orient="horz" pos="1044">
          <p15:clr>
            <a:srgbClr val="547EBF"/>
          </p15:clr>
        </p15:guide>
        <p15:guide id="5" orient="horz" pos="3838">
          <p15:clr>
            <a:srgbClr val="547EBF"/>
          </p15:clr>
        </p15:guide>
        <p15:guide id="6" orient="horz" pos="2438">
          <p15:clr>
            <a:srgbClr val="547EBF"/>
          </p15:clr>
        </p15:guide>
        <p15:guide id="7" pos="3840">
          <p15:clr>
            <a:srgbClr val="547EBF"/>
          </p15:clr>
        </p15:guide>
        <p15:guide id="8" orient="horz" pos="4248">
          <p15:clr>
            <a:srgbClr val="547EB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5" name="think-cell Slide" r:id="rId34" imgW="362" imgH="362" progId="TCLayout.ActiveDocument.1">
                  <p:embed/>
                </p:oleObj>
              </mc:Choice>
              <mc:Fallback>
                <p:oleObj name="think-cell Slide" r:id="rId34" imgW="362" imgH="36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000000"/>
                </a:solidFill>
              </a:rPr>
              <a:t>© Rio Tinto 2017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477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0" r:id="rId26"/>
    <p:sldLayoutId id="2147483951" r:id="rId27"/>
    <p:sldLayoutId id="2147483952" r:id="rId28"/>
    <p:sldLayoutId id="2147483953" r:id="rId29"/>
    <p:sldLayoutId id="2147483954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>
          <p15:clr>
            <a:srgbClr val="547EBF"/>
          </p15:clr>
        </p15:guide>
        <p15:guide id="2" pos="7469">
          <p15:clr>
            <a:srgbClr val="547EBF"/>
          </p15:clr>
        </p15:guide>
        <p15:guide id="3" orient="horz" pos="210">
          <p15:clr>
            <a:srgbClr val="F26B43"/>
          </p15:clr>
        </p15:guide>
        <p15:guide id="4" orient="horz" pos="1044">
          <p15:clr>
            <a:srgbClr val="547EBF"/>
          </p15:clr>
        </p15:guide>
        <p15:guide id="5" orient="horz" pos="3838">
          <p15:clr>
            <a:srgbClr val="547EBF"/>
          </p15:clr>
        </p15:guide>
        <p15:guide id="6" orient="horz" pos="2438">
          <p15:clr>
            <a:srgbClr val="547EBF"/>
          </p15:clr>
        </p15:guide>
        <p15:guide id="7" pos="3840">
          <p15:clr>
            <a:srgbClr val="547EBF"/>
          </p15:clr>
        </p15:guide>
        <p15:guide id="8" orient="horz" pos="4248">
          <p15:clr>
            <a:srgbClr val="547EBF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6" name="think-cell Slide" r:id="rId34" imgW="383" imgH="384" progId="TCLayout.ActiveDocument.1">
                  <p:embed/>
                </p:oleObj>
              </mc:Choice>
              <mc:Fallback>
                <p:oleObj name="think-cell Slide" r:id="rId3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000000"/>
                </a:solidFill>
              </a:rPr>
              <a:t>© Rio Tinto 2017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576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  <p:sldLayoutId id="2147483980" r:id="rId25"/>
    <p:sldLayoutId id="2147483981" r:id="rId26"/>
    <p:sldLayoutId id="2147483982" r:id="rId27"/>
    <p:sldLayoutId id="2147483983" r:id="rId28"/>
    <p:sldLayoutId id="2147483984" r:id="rId29"/>
    <p:sldLayoutId id="2147483985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>
          <p15:clr>
            <a:srgbClr val="547EBF"/>
          </p15:clr>
        </p15:guide>
        <p15:guide id="2" pos="7469">
          <p15:clr>
            <a:srgbClr val="547EBF"/>
          </p15:clr>
        </p15:guide>
        <p15:guide id="3" orient="horz" pos="210">
          <p15:clr>
            <a:srgbClr val="F26B43"/>
          </p15:clr>
        </p15:guide>
        <p15:guide id="4" orient="horz" pos="1044">
          <p15:clr>
            <a:srgbClr val="547EBF"/>
          </p15:clr>
        </p15:guide>
        <p15:guide id="5" orient="horz" pos="3838">
          <p15:clr>
            <a:srgbClr val="547EBF"/>
          </p15:clr>
        </p15:guide>
        <p15:guide id="6" orient="horz" pos="2438">
          <p15:clr>
            <a:srgbClr val="547EBF"/>
          </p15:clr>
        </p15:guide>
        <p15:guide id="7" pos="3840">
          <p15:clr>
            <a:srgbClr val="547EBF"/>
          </p15:clr>
        </p15:guide>
        <p15:guide id="8" orient="horz" pos="4248">
          <p15:clr>
            <a:srgbClr val="547EB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6" name="think-cell Slide" r:id="rId34" imgW="383" imgH="384" progId="TCLayout.ActiveDocument.1">
                  <p:embed/>
                </p:oleObj>
              </mc:Choice>
              <mc:Fallback>
                <p:oleObj name="think-cell Slide" r:id="rId3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6286805"/>
            <a:ext cx="12192000" cy="57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235876"/>
            <a:ext cx="11522075" cy="1154774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865" y="1659604"/>
            <a:ext cx="11520174" cy="4429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463212" y="6626524"/>
            <a:ext cx="357188" cy="1391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624A8C7-D029-401D-A8B1-18FF118BE1B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0812335" y="6572993"/>
            <a:ext cx="11432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000000"/>
                </a:solidFill>
              </a:rPr>
              <a:t>© Rio Tinto 2017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0860881" y="6641335"/>
            <a:ext cx="0" cy="1095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334963" y="6396038"/>
            <a:ext cx="965200" cy="352425"/>
            <a:chOff x="211" y="4029"/>
            <a:chExt cx="608" cy="222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" y="4029"/>
              <a:ext cx="608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211" y="4029"/>
              <a:ext cx="607" cy="223"/>
            </a:xfrm>
            <a:prstGeom prst="rect">
              <a:avLst/>
            </a:prstGeom>
            <a:solidFill>
              <a:srgbClr val="E51D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408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10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670" y="4119"/>
              <a:ext cx="59" cy="61"/>
            </a:xfrm>
            <a:custGeom>
              <a:avLst/>
              <a:gdLst>
                <a:gd name="T0" fmla="*/ 24 w 42"/>
                <a:gd name="T1" fmla="*/ 38 h 43"/>
                <a:gd name="T2" fmla="*/ 11 w 42"/>
                <a:gd name="T3" fmla="*/ 23 h 43"/>
                <a:gd name="T4" fmla="*/ 18 w 42"/>
                <a:gd name="T5" fmla="*/ 5 h 43"/>
                <a:gd name="T6" fmla="*/ 31 w 42"/>
                <a:gd name="T7" fmla="*/ 19 h 43"/>
                <a:gd name="T8" fmla="*/ 24 w 42"/>
                <a:gd name="T9" fmla="*/ 38 h 43"/>
                <a:gd name="T10" fmla="*/ 21 w 42"/>
                <a:gd name="T11" fmla="*/ 0 h 43"/>
                <a:gd name="T12" fmla="*/ 0 w 42"/>
                <a:gd name="T13" fmla="*/ 21 h 43"/>
                <a:gd name="T14" fmla="*/ 21 w 42"/>
                <a:gd name="T15" fmla="*/ 43 h 43"/>
                <a:gd name="T16" fmla="*/ 42 w 42"/>
                <a:gd name="T17" fmla="*/ 21 h 43"/>
                <a:gd name="T18" fmla="*/ 21 w 42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3">
                  <a:moveTo>
                    <a:pt x="24" y="38"/>
                  </a:moveTo>
                  <a:cubicBezTo>
                    <a:pt x="18" y="39"/>
                    <a:pt x="13" y="33"/>
                    <a:pt x="11" y="23"/>
                  </a:cubicBezTo>
                  <a:cubicBezTo>
                    <a:pt x="9" y="13"/>
                    <a:pt x="12" y="6"/>
                    <a:pt x="18" y="5"/>
                  </a:cubicBezTo>
                  <a:cubicBezTo>
                    <a:pt x="24" y="4"/>
                    <a:pt x="29" y="10"/>
                    <a:pt x="31" y="19"/>
                  </a:cubicBezTo>
                  <a:cubicBezTo>
                    <a:pt x="32" y="29"/>
                    <a:pt x="30" y="36"/>
                    <a:pt x="24" y="38"/>
                  </a:cubicBezTo>
                  <a:moveTo>
                    <a:pt x="21" y="0"/>
                  </a:moveTo>
                  <a:cubicBezTo>
                    <a:pt x="9" y="0"/>
                    <a:pt x="0" y="9"/>
                    <a:pt x="0" y="21"/>
                  </a:cubicBezTo>
                  <a:cubicBezTo>
                    <a:pt x="0" y="34"/>
                    <a:pt x="9" y="43"/>
                    <a:pt x="21" y="43"/>
                  </a:cubicBezTo>
                  <a:cubicBezTo>
                    <a:pt x="33" y="43"/>
                    <a:pt x="42" y="34"/>
                    <a:pt x="42" y="21"/>
                  </a:cubicBezTo>
                  <a:cubicBezTo>
                    <a:pt x="42" y="9"/>
                    <a:pt x="33" y="0"/>
                    <a:pt x="2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567" y="4119"/>
              <a:ext cx="65" cy="59"/>
            </a:xfrm>
            <a:custGeom>
              <a:avLst/>
              <a:gdLst>
                <a:gd name="T0" fmla="*/ 30 w 46"/>
                <a:gd name="T1" fmla="*/ 11 h 42"/>
                <a:gd name="T2" fmla="*/ 30 w 46"/>
                <a:gd name="T3" fmla="*/ 16 h 42"/>
                <a:gd name="T4" fmla="*/ 30 w 46"/>
                <a:gd name="T5" fmla="*/ 42 h 42"/>
                <a:gd name="T6" fmla="*/ 46 w 46"/>
                <a:gd name="T7" fmla="*/ 42 h 42"/>
                <a:gd name="T8" fmla="*/ 46 w 46"/>
                <a:gd name="T9" fmla="*/ 39 h 42"/>
                <a:gd name="T10" fmla="*/ 41 w 46"/>
                <a:gd name="T11" fmla="*/ 33 h 42"/>
                <a:gd name="T12" fmla="*/ 41 w 46"/>
                <a:gd name="T13" fmla="*/ 13 h 42"/>
                <a:gd name="T14" fmla="*/ 28 w 46"/>
                <a:gd name="T15" fmla="*/ 0 h 42"/>
                <a:gd name="T16" fmla="*/ 15 w 46"/>
                <a:gd name="T17" fmla="*/ 7 h 42"/>
                <a:gd name="T18" fmla="*/ 15 w 46"/>
                <a:gd name="T19" fmla="*/ 1 h 42"/>
                <a:gd name="T20" fmla="*/ 0 w 46"/>
                <a:gd name="T21" fmla="*/ 1 h 42"/>
                <a:gd name="T22" fmla="*/ 0 w 46"/>
                <a:gd name="T23" fmla="*/ 4 h 42"/>
                <a:gd name="T24" fmla="*/ 5 w 46"/>
                <a:gd name="T25" fmla="*/ 10 h 42"/>
                <a:gd name="T26" fmla="*/ 5 w 46"/>
                <a:gd name="T27" fmla="*/ 33 h 42"/>
                <a:gd name="T28" fmla="*/ 0 w 46"/>
                <a:gd name="T29" fmla="*/ 39 h 42"/>
                <a:gd name="T30" fmla="*/ 0 w 46"/>
                <a:gd name="T31" fmla="*/ 42 h 42"/>
                <a:gd name="T32" fmla="*/ 20 w 46"/>
                <a:gd name="T33" fmla="*/ 42 h 42"/>
                <a:gd name="T34" fmla="*/ 20 w 46"/>
                <a:gd name="T35" fmla="*/ 39 h 42"/>
                <a:gd name="T36" fmla="*/ 15 w 46"/>
                <a:gd name="T37" fmla="*/ 33 h 42"/>
                <a:gd name="T38" fmla="*/ 15 w 46"/>
                <a:gd name="T39" fmla="*/ 18 h 42"/>
                <a:gd name="T40" fmla="*/ 17 w 46"/>
                <a:gd name="T41" fmla="*/ 11 h 42"/>
                <a:gd name="T42" fmla="*/ 24 w 46"/>
                <a:gd name="T43" fmla="*/ 6 h 42"/>
                <a:gd name="T44" fmla="*/ 30 w 46"/>
                <a:gd name="T45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" h="42">
                  <a:moveTo>
                    <a:pt x="30" y="11"/>
                  </a:moveTo>
                  <a:cubicBezTo>
                    <a:pt x="30" y="12"/>
                    <a:pt x="30" y="14"/>
                    <a:pt x="30" y="16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4" y="39"/>
                    <a:pt x="41" y="38"/>
                    <a:pt x="41" y="3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"/>
                    <a:pt x="32" y="0"/>
                    <a:pt x="28" y="0"/>
                  </a:cubicBezTo>
                  <a:cubicBezTo>
                    <a:pt x="20" y="0"/>
                    <a:pt x="16" y="5"/>
                    <a:pt x="15" y="7"/>
                  </a:cubicBezTo>
                  <a:cubicBezTo>
                    <a:pt x="15" y="7"/>
                    <a:pt x="15" y="2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5" y="5"/>
                    <a:pt x="5" y="10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8"/>
                    <a:pt x="2" y="39"/>
                    <a:pt x="0" y="3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39"/>
                    <a:pt x="15" y="38"/>
                    <a:pt x="15" y="33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5"/>
                    <a:pt x="16" y="13"/>
                    <a:pt x="17" y="11"/>
                  </a:cubicBezTo>
                  <a:cubicBezTo>
                    <a:pt x="18" y="8"/>
                    <a:pt x="21" y="6"/>
                    <a:pt x="24" y="6"/>
                  </a:cubicBezTo>
                  <a:cubicBezTo>
                    <a:pt x="26" y="6"/>
                    <a:pt x="29" y="8"/>
                    <a:pt x="30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635" y="4107"/>
              <a:ext cx="29" cy="71"/>
            </a:xfrm>
            <a:custGeom>
              <a:avLst/>
              <a:gdLst>
                <a:gd name="T0" fmla="*/ 20 w 21"/>
                <a:gd name="T1" fmla="*/ 50 h 50"/>
                <a:gd name="T2" fmla="*/ 20 w 21"/>
                <a:gd name="T3" fmla="*/ 47 h 50"/>
                <a:gd name="T4" fmla="*/ 15 w 21"/>
                <a:gd name="T5" fmla="*/ 41 h 50"/>
                <a:gd name="T6" fmla="*/ 15 w 21"/>
                <a:gd name="T7" fmla="*/ 13 h 50"/>
                <a:gd name="T8" fmla="*/ 21 w 21"/>
                <a:gd name="T9" fmla="*/ 13 h 50"/>
                <a:gd name="T10" fmla="*/ 21 w 21"/>
                <a:gd name="T11" fmla="*/ 9 h 50"/>
                <a:gd name="T12" fmla="*/ 15 w 21"/>
                <a:gd name="T13" fmla="*/ 9 h 50"/>
                <a:gd name="T14" fmla="*/ 15 w 21"/>
                <a:gd name="T15" fmla="*/ 0 h 50"/>
                <a:gd name="T16" fmla="*/ 10 w 21"/>
                <a:gd name="T17" fmla="*/ 0 h 50"/>
                <a:gd name="T18" fmla="*/ 0 w 21"/>
                <a:gd name="T19" fmla="*/ 10 h 50"/>
                <a:gd name="T20" fmla="*/ 0 w 21"/>
                <a:gd name="T21" fmla="*/ 13 h 50"/>
                <a:gd name="T22" fmla="*/ 5 w 21"/>
                <a:gd name="T23" fmla="*/ 13 h 50"/>
                <a:gd name="T24" fmla="*/ 5 w 21"/>
                <a:gd name="T25" fmla="*/ 41 h 50"/>
                <a:gd name="T26" fmla="*/ 14 w 21"/>
                <a:gd name="T27" fmla="*/ 50 h 50"/>
                <a:gd name="T28" fmla="*/ 20 w 21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50">
                  <a:moveTo>
                    <a:pt x="20" y="50"/>
                  </a:moveTo>
                  <a:cubicBezTo>
                    <a:pt x="20" y="47"/>
                    <a:pt x="20" y="47"/>
                    <a:pt x="20" y="47"/>
                  </a:cubicBezTo>
                  <a:cubicBezTo>
                    <a:pt x="18" y="47"/>
                    <a:pt x="15" y="46"/>
                    <a:pt x="15" y="41"/>
                  </a:cubicBezTo>
                  <a:cubicBezTo>
                    <a:pt x="15" y="40"/>
                    <a:pt x="15" y="13"/>
                    <a:pt x="15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6"/>
                    <a:pt x="4" y="10"/>
                    <a:pt x="0" y="1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7"/>
                    <a:pt x="7" y="50"/>
                    <a:pt x="14" y="50"/>
                  </a:cubicBezTo>
                  <a:lnTo>
                    <a:pt x="2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473" y="4096"/>
              <a:ext cx="63" cy="82"/>
            </a:xfrm>
            <a:custGeom>
              <a:avLst/>
              <a:gdLst>
                <a:gd name="T0" fmla="*/ 28 w 45"/>
                <a:gd name="T1" fmla="*/ 5 h 58"/>
                <a:gd name="T2" fmla="*/ 28 w 45"/>
                <a:gd name="T3" fmla="*/ 48 h 58"/>
                <a:gd name="T4" fmla="*/ 33 w 45"/>
                <a:gd name="T5" fmla="*/ 54 h 58"/>
                <a:gd name="T6" fmla="*/ 33 w 45"/>
                <a:gd name="T7" fmla="*/ 58 h 58"/>
                <a:gd name="T8" fmla="*/ 12 w 45"/>
                <a:gd name="T9" fmla="*/ 58 h 58"/>
                <a:gd name="T10" fmla="*/ 12 w 45"/>
                <a:gd name="T11" fmla="*/ 54 h 58"/>
                <a:gd name="T12" fmla="*/ 17 w 45"/>
                <a:gd name="T13" fmla="*/ 48 h 58"/>
                <a:gd name="T14" fmla="*/ 17 w 45"/>
                <a:gd name="T15" fmla="*/ 5 h 58"/>
                <a:gd name="T16" fmla="*/ 12 w 45"/>
                <a:gd name="T17" fmla="*/ 5 h 58"/>
                <a:gd name="T18" fmla="*/ 4 w 45"/>
                <a:gd name="T19" fmla="*/ 12 h 58"/>
                <a:gd name="T20" fmla="*/ 0 w 45"/>
                <a:gd name="T21" fmla="*/ 12 h 58"/>
                <a:gd name="T22" fmla="*/ 0 w 45"/>
                <a:gd name="T23" fmla="*/ 0 h 58"/>
                <a:gd name="T24" fmla="*/ 45 w 45"/>
                <a:gd name="T25" fmla="*/ 0 h 58"/>
                <a:gd name="T26" fmla="*/ 45 w 45"/>
                <a:gd name="T27" fmla="*/ 12 h 58"/>
                <a:gd name="T28" fmla="*/ 41 w 45"/>
                <a:gd name="T29" fmla="*/ 12 h 58"/>
                <a:gd name="T30" fmla="*/ 33 w 45"/>
                <a:gd name="T31" fmla="*/ 5 h 58"/>
                <a:gd name="T32" fmla="*/ 28 w 45"/>
                <a:gd name="T3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8">
                  <a:moveTo>
                    <a:pt x="28" y="5"/>
                  </a:moveTo>
                  <a:cubicBezTo>
                    <a:pt x="28" y="48"/>
                    <a:pt x="28" y="48"/>
                    <a:pt x="28" y="48"/>
                  </a:cubicBezTo>
                  <a:cubicBezTo>
                    <a:pt x="28" y="53"/>
                    <a:pt x="31" y="54"/>
                    <a:pt x="33" y="54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4" y="54"/>
                    <a:pt x="17" y="53"/>
                    <a:pt x="17" y="4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4" y="5"/>
                    <a:pt x="12" y="5"/>
                  </a:cubicBezTo>
                  <a:cubicBezTo>
                    <a:pt x="6" y="5"/>
                    <a:pt x="4" y="7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7"/>
                    <a:pt x="39" y="5"/>
                    <a:pt x="33" y="5"/>
                  </a:cubicBezTo>
                  <a:cubicBezTo>
                    <a:pt x="31" y="5"/>
                    <a:pt x="28" y="5"/>
                    <a:pt x="28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300" y="4096"/>
              <a:ext cx="78" cy="90"/>
            </a:xfrm>
            <a:custGeom>
              <a:avLst/>
              <a:gdLst>
                <a:gd name="T0" fmla="*/ 16 w 56"/>
                <a:gd name="T1" fmla="*/ 5 h 63"/>
                <a:gd name="T2" fmla="*/ 16 w 56"/>
                <a:gd name="T3" fmla="*/ 18 h 63"/>
                <a:gd name="T4" fmla="*/ 16 w 56"/>
                <a:gd name="T5" fmla="*/ 32 h 63"/>
                <a:gd name="T6" fmla="*/ 16 w 56"/>
                <a:gd name="T7" fmla="*/ 48 h 63"/>
                <a:gd name="T8" fmla="*/ 21 w 56"/>
                <a:gd name="T9" fmla="*/ 54 h 63"/>
                <a:gd name="T10" fmla="*/ 21 w 56"/>
                <a:gd name="T11" fmla="*/ 58 h 63"/>
                <a:gd name="T12" fmla="*/ 0 w 56"/>
                <a:gd name="T13" fmla="*/ 58 h 63"/>
                <a:gd name="T14" fmla="*/ 0 w 56"/>
                <a:gd name="T15" fmla="*/ 54 h 63"/>
                <a:gd name="T16" fmla="*/ 5 w 56"/>
                <a:gd name="T17" fmla="*/ 48 h 63"/>
                <a:gd name="T18" fmla="*/ 5 w 56"/>
                <a:gd name="T19" fmla="*/ 32 h 63"/>
                <a:gd name="T20" fmla="*/ 5 w 56"/>
                <a:gd name="T21" fmla="*/ 19 h 63"/>
                <a:gd name="T22" fmla="*/ 5 w 56"/>
                <a:gd name="T23" fmla="*/ 9 h 63"/>
                <a:gd name="T24" fmla="*/ 0 w 56"/>
                <a:gd name="T25" fmla="*/ 3 h 63"/>
                <a:gd name="T26" fmla="*/ 0 w 56"/>
                <a:gd name="T27" fmla="*/ 0 h 63"/>
                <a:gd name="T28" fmla="*/ 26 w 56"/>
                <a:gd name="T29" fmla="*/ 0 h 63"/>
                <a:gd name="T30" fmla="*/ 45 w 56"/>
                <a:gd name="T31" fmla="*/ 15 h 63"/>
                <a:gd name="T32" fmla="*/ 33 w 56"/>
                <a:gd name="T33" fmla="*/ 29 h 63"/>
                <a:gd name="T34" fmla="*/ 51 w 56"/>
                <a:gd name="T35" fmla="*/ 57 h 63"/>
                <a:gd name="T36" fmla="*/ 56 w 56"/>
                <a:gd name="T37" fmla="*/ 60 h 63"/>
                <a:gd name="T38" fmla="*/ 56 w 56"/>
                <a:gd name="T39" fmla="*/ 60 h 63"/>
                <a:gd name="T40" fmla="*/ 56 w 56"/>
                <a:gd name="T41" fmla="*/ 63 h 63"/>
                <a:gd name="T42" fmla="*/ 50 w 56"/>
                <a:gd name="T43" fmla="*/ 63 h 63"/>
                <a:gd name="T44" fmla="*/ 39 w 56"/>
                <a:gd name="T45" fmla="*/ 58 h 63"/>
                <a:gd name="T46" fmla="*/ 21 w 56"/>
                <a:gd name="T47" fmla="*/ 29 h 63"/>
                <a:gd name="T48" fmla="*/ 20 w 56"/>
                <a:gd name="T49" fmla="*/ 29 h 63"/>
                <a:gd name="T50" fmla="*/ 20 w 56"/>
                <a:gd name="T51" fmla="*/ 26 h 63"/>
                <a:gd name="T52" fmla="*/ 21 w 56"/>
                <a:gd name="T53" fmla="*/ 26 h 63"/>
                <a:gd name="T54" fmla="*/ 33 w 56"/>
                <a:gd name="T55" fmla="*/ 16 h 63"/>
                <a:gd name="T56" fmla="*/ 22 w 56"/>
                <a:gd name="T57" fmla="*/ 5 h 63"/>
                <a:gd name="T58" fmla="*/ 16 w 56"/>
                <a:gd name="T59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63">
                  <a:moveTo>
                    <a:pt x="16" y="5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53"/>
                    <a:pt x="19" y="54"/>
                    <a:pt x="21" y="54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5" y="53"/>
                    <a:pt x="5" y="4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0"/>
                    <a:pt x="45" y="8"/>
                    <a:pt x="45" y="15"/>
                  </a:cubicBezTo>
                  <a:cubicBezTo>
                    <a:pt x="45" y="22"/>
                    <a:pt x="40" y="27"/>
                    <a:pt x="33" y="29"/>
                  </a:cubicBezTo>
                  <a:cubicBezTo>
                    <a:pt x="40" y="29"/>
                    <a:pt x="45" y="49"/>
                    <a:pt x="51" y="57"/>
                  </a:cubicBezTo>
                  <a:cubicBezTo>
                    <a:pt x="52" y="58"/>
                    <a:pt x="54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5" y="63"/>
                    <a:pt x="41" y="61"/>
                    <a:pt x="39" y="58"/>
                  </a:cubicBezTo>
                  <a:cubicBezTo>
                    <a:pt x="32" y="49"/>
                    <a:pt x="29" y="30"/>
                    <a:pt x="21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31" y="26"/>
                    <a:pt x="33" y="20"/>
                    <a:pt x="33" y="16"/>
                  </a:cubicBezTo>
                  <a:cubicBezTo>
                    <a:pt x="33" y="10"/>
                    <a:pt x="31" y="5"/>
                    <a:pt x="22" y="5"/>
                  </a:cubicBezTo>
                  <a:cubicBezTo>
                    <a:pt x="20" y="5"/>
                    <a:pt x="16" y="5"/>
                    <a:pt x="16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0" name="Oval 12"/>
            <p:cNvSpPr>
              <a:spLocks noChangeArrowheads="1"/>
            </p:cNvSpPr>
            <p:nvPr userDrawn="1"/>
          </p:nvSpPr>
          <p:spPr bwMode="auto">
            <a:xfrm>
              <a:off x="540" y="4100"/>
              <a:ext cx="16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1" name="Freeform 13"/>
            <p:cNvSpPr>
              <a:spLocks/>
            </p:cNvSpPr>
            <p:nvPr userDrawn="1"/>
          </p:nvSpPr>
          <p:spPr bwMode="auto">
            <a:xfrm>
              <a:off x="535" y="4120"/>
              <a:ext cx="28" cy="58"/>
            </a:xfrm>
            <a:custGeom>
              <a:avLst/>
              <a:gdLst>
                <a:gd name="T0" fmla="*/ 20 w 20"/>
                <a:gd name="T1" fmla="*/ 41 h 41"/>
                <a:gd name="T2" fmla="*/ 20 w 20"/>
                <a:gd name="T3" fmla="*/ 38 h 41"/>
                <a:gd name="T4" fmla="*/ 15 w 20"/>
                <a:gd name="T5" fmla="*/ 32 h 41"/>
                <a:gd name="T6" fmla="*/ 15 w 20"/>
                <a:gd name="T7" fmla="*/ 0 h 41"/>
                <a:gd name="T8" fmla="*/ 0 w 20"/>
                <a:gd name="T9" fmla="*/ 0 h 41"/>
                <a:gd name="T10" fmla="*/ 0 w 20"/>
                <a:gd name="T11" fmla="*/ 3 h 41"/>
                <a:gd name="T12" fmla="*/ 5 w 20"/>
                <a:gd name="T13" fmla="*/ 9 h 41"/>
                <a:gd name="T14" fmla="*/ 5 w 20"/>
                <a:gd name="T15" fmla="*/ 32 h 41"/>
                <a:gd name="T16" fmla="*/ 0 w 20"/>
                <a:gd name="T17" fmla="*/ 38 h 41"/>
                <a:gd name="T18" fmla="*/ 0 w 20"/>
                <a:gd name="T19" fmla="*/ 41 h 41"/>
                <a:gd name="T20" fmla="*/ 20 w 20"/>
                <a:gd name="T2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18" y="38"/>
                    <a:pt x="15" y="37"/>
                    <a:pt x="15" y="3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5" y="4"/>
                    <a:pt x="5" y="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7"/>
                    <a:pt x="2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373" y="4120"/>
              <a:ext cx="29" cy="58"/>
            </a:xfrm>
            <a:custGeom>
              <a:avLst/>
              <a:gdLst>
                <a:gd name="T0" fmla="*/ 5 w 21"/>
                <a:gd name="T1" fmla="*/ 41 h 41"/>
                <a:gd name="T2" fmla="*/ 5 w 21"/>
                <a:gd name="T3" fmla="*/ 9 h 41"/>
                <a:gd name="T4" fmla="*/ 0 w 21"/>
                <a:gd name="T5" fmla="*/ 3 h 41"/>
                <a:gd name="T6" fmla="*/ 0 w 21"/>
                <a:gd name="T7" fmla="*/ 0 h 41"/>
                <a:gd name="T8" fmla="*/ 16 w 21"/>
                <a:gd name="T9" fmla="*/ 0 h 41"/>
                <a:gd name="T10" fmla="*/ 16 w 21"/>
                <a:gd name="T11" fmla="*/ 32 h 41"/>
                <a:gd name="T12" fmla="*/ 21 w 21"/>
                <a:gd name="T13" fmla="*/ 38 h 41"/>
                <a:gd name="T14" fmla="*/ 21 w 21"/>
                <a:gd name="T15" fmla="*/ 41 h 41"/>
                <a:gd name="T16" fmla="*/ 5 w 21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41">
                  <a:moveTo>
                    <a:pt x="5" y="41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2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7"/>
                    <a:pt x="18" y="38"/>
                    <a:pt x="21" y="38"/>
                  </a:cubicBezTo>
                  <a:cubicBezTo>
                    <a:pt x="21" y="41"/>
                    <a:pt x="21" y="41"/>
                    <a:pt x="21" y="41"/>
                  </a:cubicBezTo>
                  <a:lnTo>
                    <a:pt x="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Oval 15"/>
            <p:cNvSpPr>
              <a:spLocks noChangeArrowheads="1"/>
            </p:cNvSpPr>
            <p:nvPr userDrawn="1"/>
          </p:nvSpPr>
          <p:spPr bwMode="auto">
            <a:xfrm>
              <a:off x="378" y="4100"/>
              <a:ext cx="17" cy="1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AF248C6-2C41-44AA-BDC6-BEF6EA060CE1}" type="datetime9">
              <a:rPr lang="en-GB" smtClean="0">
                <a:solidFill>
                  <a:srgbClr val="000000"/>
                </a:solidFill>
              </a:rPr>
              <a:pPr/>
              <a:t>18/06/2019 12:13: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19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>
          <p15:clr>
            <a:srgbClr val="547EBF"/>
          </p15:clr>
        </p15:guide>
        <p15:guide id="2" pos="7469">
          <p15:clr>
            <a:srgbClr val="547EBF"/>
          </p15:clr>
        </p15:guide>
        <p15:guide id="3" orient="horz" pos="210">
          <p15:clr>
            <a:srgbClr val="F26B43"/>
          </p15:clr>
        </p15:guide>
        <p15:guide id="4" orient="horz" pos="1044">
          <p15:clr>
            <a:srgbClr val="547EBF"/>
          </p15:clr>
        </p15:guide>
        <p15:guide id="5" orient="horz" pos="3838">
          <p15:clr>
            <a:srgbClr val="547EBF"/>
          </p15:clr>
        </p15:guide>
        <p15:guide id="6" orient="horz" pos="2438">
          <p15:clr>
            <a:srgbClr val="547EBF"/>
          </p15:clr>
        </p15:guide>
        <p15:guide id="7" pos="3840">
          <p15:clr>
            <a:srgbClr val="547EBF"/>
          </p15:clr>
        </p15:guide>
        <p15:guide id="8" orient="horz" pos="4248">
          <p15:clr>
            <a:srgbClr val="547EB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08022" y="108344"/>
            <a:ext cx="1070346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12798" y="17026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812798" y="987245"/>
            <a:ext cx="640391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812798" y="6320840"/>
            <a:ext cx="11074669" cy="400298"/>
            <a:chOff x="609598" y="6320840"/>
            <a:chExt cx="8306002" cy="40029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609598" y="6320840"/>
              <a:ext cx="830600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46464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609598" y="6567250"/>
              <a:ext cx="797069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9900" indent="-46990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6250" algn="l"/>
                </a:tabLst>
              </a:pPr>
              <a:r>
                <a:rPr lang="en-US" sz="1000" dirty="0">
                  <a:solidFill>
                    <a:srgbClr val="646464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423621" y="2684523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646464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cxnSp>
        <p:nvCxnSpPr>
          <p:cNvPr id="23" name="Straight Connector 22"/>
          <p:cNvCxnSpPr/>
          <p:nvPr/>
        </p:nvCxnSpPr>
        <p:spPr bwMode="auto">
          <a:xfrm flipH="1">
            <a:off x="381477" y="928865"/>
            <a:ext cx="11795760" cy="0"/>
          </a:xfrm>
          <a:prstGeom prst="line">
            <a:avLst/>
          </a:prstGeom>
          <a:ln>
            <a:solidFill>
              <a:srgbClr val="E60D2E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10869356" y="1038036"/>
            <a:ext cx="848784" cy="996951"/>
            <a:chOff x="4936" y="176"/>
            <a:chExt cx="40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10458722" y="1038036"/>
            <a:ext cx="1259418" cy="730251"/>
            <a:chOff x="4750" y="176"/>
            <a:chExt cx="59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646464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10820580" y="1038035"/>
            <a:ext cx="1066894" cy="212366"/>
            <a:chOff x="7940605" y="285750"/>
            <a:chExt cx="800170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10780225" y="1038035"/>
            <a:ext cx="937321" cy="1306516"/>
            <a:chOff x="6655594" y="273840"/>
            <a:chExt cx="702991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646464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646464"/>
                  </a:solidFill>
                </a:endParaRPr>
              </a:p>
            </p:txBody>
          </p:sp>
        </p:grpSp>
      </p:grpSp>
      <p:grpSp>
        <p:nvGrpSpPr>
          <p:cNvPr id="66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10686292" y="2816682"/>
            <a:ext cx="338667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95" y="93875"/>
            <a:ext cx="1244314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949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1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600" b="0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dership in the Fiel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334962" y="1424704"/>
            <a:ext cx="6212141" cy="443865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One focused theme for all sites</a:t>
            </a:r>
          </a:p>
          <a:p>
            <a:pPr marL="885825" lvl="4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Vehicles &amp; Driving</a:t>
            </a:r>
          </a:p>
          <a:p>
            <a:pPr marL="885825" lvl="4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Working with Heights</a:t>
            </a:r>
          </a:p>
          <a:p>
            <a:pPr marL="885825" lvl="4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Housekeeping</a:t>
            </a:r>
          </a:p>
          <a:p>
            <a:pPr marL="885825" lvl="4" indent="-342900">
              <a:buFont typeface="Arial" panose="020B0604020202020204" pitchFamily="34" charset="0"/>
              <a:buChar char="•"/>
            </a:pPr>
            <a:r>
              <a:rPr lang="en-US" sz="1600" dirty="0" smtClean="0"/>
              <a:t>Isolations</a:t>
            </a:r>
          </a:p>
          <a:p>
            <a:pPr lvl="1"/>
            <a:endParaRPr lang="en-US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Business wide debrief every week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Require 7 days ‘green’ to change themes</a:t>
            </a:r>
          </a:p>
          <a:p>
            <a:pPr lvl="1"/>
            <a:endParaRPr lang="en-US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Every Friday checks all previous themes</a:t>
            </a: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1888" y="737125"/>
            <a:ext cx="5006426" cy="5290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05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7_Rio Tinto_CF_LN9054">
  <a:themeElements>
    <a:clrScheme name="Current">
      <a:dk1>
        <a:srgbClr val="000000"/>
      </a:dk1>
      <a:lt1>
        <a:srgbClr val="FFFFFF"/>
      </a:lt1>
      <a:dk2>
        <a:srgbClr val="007EA3"/>
      </a:dk2>
      <a:lt2>
        <a:srgbClr val="A6A6A6"/>
      </a:lt2>
      <a:accent1>
        <a:srgbClr val="A0CFEB"/>
      </a:accent1>
      <a:accent2>
        <a:srgbClr val="002C5F"/>
      </a:accent2>
      <a:accent3>
        <a:srgbClr val="70A489"/>
      </a:accent3>
      <a:accent4>
        <a:srgbClr val="E8CE79"/>
      </a:accent4>
      <a:accent5>
        <a:srgbClr val="FF6600"/>
      </a:accent5>
      <a:accent6>
        <a:srgbClr val="808080"/>
      </a:accent6>
      <a:hlink>
        <a:srgbClr val="70A489"/>
      </a:hlink>
      <a:folHlink>
        <a:srgbClr val="E8CE79"/>
      </a:folHlink>
    </a:clrScheme>
    <a:fontScheme name="Custom 40">
      <a:majorFont>
        <a:latin typeface="Georgia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EA3"/>
        </a:dk2>
        <a:lt2>
          <a:srgbClr val="A6A6A6"/>
        </a:lt2>
        <a:accent1>
          <a:srgbClr val="A0CFEB"/>
        </a:accent1>
        <a:accent2>
          <a:srgbClr val="002C5F"/>
        </a:accent2>
        <a:accent3>
          <a:srgbClr val="70A489"/>
        </a:accent3>
        <a:accent4>
          <a:srgbClr val="E8CE79"/>
        </a:accent4>
        <a:accent5>
          <a:srgbClr val="FF6600"/>
        </a:accent5>
        <a:accent6>
          <a:srgbClr val="808080"/>
        </a:accent6>
        <a:hlink>
          <a:srgbClr val="70A489"/>
        </a:hlink>
        <a:folHlink>
          <a:srgbClr val="E8C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3_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Rio Tinto group PowerPoint template">
  <a:themeElements>
    <a:clrScheme name="Rio Tinto">
      <a:dk1>
        <a:srgbClr val="000000"/>
      </a:dk1>
      <a:lt1>
        <a:sysClr val="window" lastClr="FFFFFF"/>
      </a:lt1>
      <a:dk2>
        <a:srgbClr val="B9B9B9"/>
      </a:dk2>
      <a:lt2>
        <a:srgbClr val="E60D2E"/>
      </a:lt2>
      <a:accent1>
        <a:srgbClr val="0384DB"/>
      </a:accent1>
      <a:accent2>
        <a:srgbClr val="2F9191"/>
      </a:accent2>
      <a:accent3>
        <a:srgbClr val="6F9F00"/>
      </a:accent3>
      <a:accent4>
        <a:srgbClr val="EE7700"/>
      </a:accent4>
      <a:accent5>
        <a:srgbClr val="B40436"/>
      </a:accent5>
      <a:accent6>
        <a:srgbClr val="6F1B91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Magenta">
      <a:srgbClr val="A11588"/>
    </a:custClr>
    <a:custClr name="Dark Green">
      <a:srgbClr val="009536"/>
    </a:custClr>
    <a:custClr name="Dark Blue">
      <a:srgbClr val="004F9A"/>
    </a:custClr>
    <a:custClr name="Plum">
      <a:srgbClr val="772432"/>
    </a:custClr>
    <a:custClr name="Navy">
      <a:srgbClr val="002C5F"/>
    </a:custClr>
  </a:custClr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Rio Tinto_CF_CZR354">
  <a:themeElements>
    <a:clrScheme name="Current">
      <a:dk1>
        <a:srgbClr val="646464"/>
      </a:dk1>
      <a:lt1>
        <a:srgbClr val="FFFFFF"/>
      </a:lt1>
      <a:dk2>
        <a:srgbClr val="646464"/>
      </a:dk2>
      <a:lt2>
        <a:srgbClr val="B9B9B9"/>
      </a:lt2>
      <a:accent1>
        <a:srgbClr val="002C5F"/>
      </a:accent1>
      <a:accent2>
        <a:srgbClr val="007EA3"/>
      </a:accent2>
      <a:accent3>
        <a:srgbClr val="70A489"/>
      </a:accent3>
      <a:accent4>
        <a:srgbClr val="E8CE79"/>
      </a:accent4>
      <a:accent5>
        <a:srgbClr val="E60D2E"/>
      </a:accent5>
      <a:accent6>
        <a:srgbClr val="808080"/>
      </a:accent6>
      <a:hlink>
        <a:srgbClr val="70A489"/>
      </a:hlink>
      <a:folHlink>
        <a:srgbClr val="E8CE7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646464"/>
        </a:dk1>
        <a:lt1>
          <a:srgbClr val="FFFFFF"/>
        </a:lt1>
        <a:dk2>
          <a:srgbClr val="646464"/>
        </a:dk2>
        <a:lt2>
          <a:srgbClr val="B9B9B9"/>
        </a:lt2>
        <a:accent1>
          <a:srgbClr val="002C5F"/>
        </a:accent1>
        <a:accent2>
          <a:srgbClr val="007EA3"/>
        </a:accent2>
        <a:accent3>
          <a:srgbClr val="70A489"/>
        </a:accent3>
        <a:accent4>
          <a:srgbClr val="E8CE79"/>
        </a:accent4>
        <a:accent5>
          <a:srgbClr val="E60D2E"/>
        </a:accent5>
        <a:accent6>
          <a:srgbClr val="808080"/>
        </a:accent6>
        <a:hlink>
          <a:srgbClr val="70A489"/>
        </a:hlink>
        <a:folHlink>
          <a:srgbClr val="E8C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94</TotalTime>
  <Words>39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Rio Tinto group PowerPoint template</vt:lpstr>
      <vt:lpstr>37_Rio Tinto_CF_LN9054</vt:lpstr>
      <vt:lpstr>1_Rio Tinto group PowerPoint template</vt:lpstr>
      <vt:lpstr>2_Rio Tinto group PowerPoint template</vt:lpstr>
      <vt:lpstr>23_Rio Tinto group PowerPoint template</vt:lpstr>
      <vt:lpstr>3_Rio Tinto group PowerPoint template</vt:lpstr>
      <vt:lpstr>4_Rio Tinto group PowerPoint template</vt:lpstr>
      <vt:lpstr>5_Rio Tinto group PowerPoint template</vt:lpstr>
      <vt:lpstr>Rio Tinto_CF_CZR354</vt:lpstr>
      <vt:lpstr>think-cell Slide</vt:lpstr>
      <vt:lpstr>Leadership in the Fiel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a Osborn</dc:creator>
  <cp:lastModifiedBy>Mayes, Alexandra (HSEC)</cp:lastModifiedBy>
  <cp:revision>655</cp:revision>
  <cp:lastPrinted>2017-12-01T17:56:04Z</cp:lastPrinted>
  <dcterms:created xsi:type="dcterms:W3CDTF">2016-10-31T10:29:40Z</dcterms:created>
  <dcterms:modified xsi:type="dcterms:W3CDTF">2019-06-18T19:16:23Z</dcterms:modified>
</cp:coreProperties>
</file>